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11"/>
  </p:notesMasterIdLst>
  <p:sldIdLst>
    <p:sldId id="485" r:id="rId2"/>
    <p:sldId id="394" r:id="rId3"/>
    <p:sldId id="533" r:id="rId4"/>
    <p:sldId id="541" r:id="rId5"/>
    <p:sldId id="532" r:id="rId6"/>
    <p:sldId id="537" r:id="rId7"/>
    <p:sldId id="540" r:id="rId8"/>
    <p:sldId id="542" r:id="rId9"/>
    <p:sldId id="393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封面" id="{87926754-0DE0-4666-B5F7-D739362FE2A8}">
          <p14:sldIdLst>
            <p14:sldId id="485"/>
          </p14:sldIdLst>
        </p14:section>
        <p14:section name="内页" id="{CFE61AE2-ED93-4B32-A701-8B8184B1CE9C}">
          <p14:sldIdLst>
            <p14:sldId id="394"/>
            <p14:sldId id="533"/>
            <p14:sldId id="541"/>
            <p14:sldId id="532"/>
            <p14:sldId id="537"/>
            <p14:sldId id="540"/>
            <p14:sldId id="542"/>
          </p14:sldIdLst>
        </p14:section>
        <p14:section name="封底" id="{D0E4C932-1F73-4240-AA01-D9EB80EE0521}">
          <p14:sldIdLst>
            <p14:sldId id="39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1976793968@qq.com" initials="1" lastIdx="1" clrIdx="0">
    <p:extLst>
      <p:ext uri="{19B8F6BF-5375-455C-9EA6-DF929625EA0E}">
        <p15:presenceInfo xmlns:p15="http://schemas.microsoft.com/office/powerpoint/2012/main" userId="2c3c73d4e46c023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595959"/>
    <a:srgbClr val="575757"/>
    <a:srgbClr val="010101"/>
    <a:srgbClr val="262626"/>
    <a:srgbClr val="346A97"/>
    <a:srgbClr val="E6D590"/>
    <a:srgbClr val="0B2239"/>
    <a:srgbClr val="016D9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90" autoAdjust="0"/>
    <p:restoredTop sz="94660"/>
  </p:normalViewPr>
  <p:slideViewPr>
    <p:cSldViewPr snapToGrid="0" showGuides="1">
      <p:cViewPr varScale="1">
        <p:scale>
          <a:sx n="86" d="100"/>
          <a:sy n="86" d="100"/>
        </p:scale>
        <p:origin x="547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43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5A936A-9A13-4042-8584-7FFDAD040C5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771600-EFCF-4A63-82E2-D1BF68BF53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3501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9.wdp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3.wdp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image" Target="../media/image31.png"/><Relationship Id="rId7" Type="http://schemas.openxmlformats.org/officeDocument/2006/relationships/image" Target="../media/image34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3.emf"/><Relationship Id="rId5" Type="http://schemas.microsoft.com/office/2007/relationships/hdphoto" Target="../media/hdphoto10.wdp"/><Relationship Id="rId4" Type="http://schemas.openxmlformats.org/officeDocument/2006/relationships/image" Target="../media/image3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6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39.jpe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14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6.wdp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BD99EE17-2F67-45CD-B112-A0C6E0AAD3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105000"/>
                    </a14:imgEffect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72"/>
            <a:ext cx="12192000" cy="6855828"/>
          </a:xfrm>
          <a:prstGeom prst="rect">
            <a:avLst/>
          </a:prstGeom>
        </p:spPr>
      </p:pic>
      <p:sp>
        <p:nvSpPr>
          <p:cNvPr id="118" name="矩形 117">
            <a:extLst>
              <a:ext uri="{FF2B5EF4-FFF2-40B4-BE49-F238E27FC236}">
                <a16:creationId xmlns:a16="http://schemas.microsoft.com/office/drawing/2014/main" id="{83460631-7A3E-489F-AFF1-C919933C0BDD}"/>
              </a:ext>
            </a:extLst>
          </p:cNvPr>
          <p:cNvSpPr/>
          <p:nvPr userDrawn="1"/>
        </p:nvSpPr>
        <p:spPr>
          <a:xfrm>
            <a:off x="0" y="0"/>
            <a:ext cx="12192000" cy="4190035"/>
          </a:xfrm>
          <a:prstGeom prst="rect">
            <a:avLst/>
          </a:prstGeom>
          <a:gradFill flip="none" rotWithShape="1">
            <a:gsLst>
              <a:gs pos="4000">
                <a:schemeClr val="bg1">
                  <a:alpha val="0"/>
                </a:schemeClr>
              </a:gs>
              <a:gs pos="16000">
                <a:schemeClr val="bg1">
                  <a:alpha val="60000"/>
                </a:schemeClr>
              </a:gs>
              <a:gs pos="100000">
                <a:schemeClr val="bg1">
                  <a:alpha val="8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1" name="组合 120">
            <a:extLst>
              <a:ext uri="{FF2B5EF4-FFF2-40B4-BE49-F238E27FC236}">
                <a16:creationId xmlns:a16="http://schemas.microsoft.com/office/drawing/2014/main" id="{855908AF-97B9-4729-8037-3BA861606F0D}"/>
              </a:ext>
            </a:extLst>
          </p:cNvPr>
          <p:cNvGrpSpPr/>
          <p:nvPr userDrawn="1"/>
        </p:nvGrpSpPr>
        <p:grpSpPr>
          <a:xfrm>
            <a:off x="5271655" y="1112449"/>
            <a:ext cx="1648690" cy="560362"/>
            <a:chOff x="1398368" y="5051425"/>
            <a:chExt cx="3242941" cy="1102222"/>
          </a:xfrm>
        </p:grpSpPr>
        <p:sp>
          <p:nvSpPr>
            <p:cNvPr id="122" name="Freeform 5">
              <a:extLst>
                <a:ext uri="{FF2B5EF4-FFF2-40B4-BE49-F238E27FC236}">
                  <a16:creationId xmlns:a16="http://schemas.microsoft.com/office/drawing/2014/main" id="{CC73142E-2601-4692-A4EB-ACF356FF3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7">
              <a:extLst>
                <a:ext uri="{FF2B5EF4-FFF2-40B4-BE49-F238E27FC236}">
                  <a16:creationId xmlns:a16="http://schemas.microsoft.com/office/drawing/2014/main" id="{3ED37CFD-ABFD-4AA0-B60B-A5BF8DB3E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8">
              <a:extLst>
                <a:ext uri="{FF2B5EF4-FFF2-40B4-BE49-F238E27FC236}">
                  <a16:creationId xmlns:a16="http://schemas.microsoft.com/office/drawing/2014/main" id="{1BC9659A-E604-48B4-B30A-860A1379C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5" name="组合 124">
              <a:extLst>
                <a:ext uri="{FF2B5EF4-FFF2-40B4-BE49-F238E27FC236}">
                  <a16:creationId xmlns:a16="http://schemas.microsoft.com/office/drawing/2014/main" id="{4919B734-99B7-458C-B806-69DE52FE4EB6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6" name="Freeform 6">
                <a:extLst>
                  <a:ext uri="{FF2B5EF4-FFF2-40B4-BE49-F238E27FC236}">
                    <a16:creationId xmlns:a16="http://schemas.microsoft.com/office/drawing/2014/main" id="{FA7FA697-46AF-4203-8AB4-AC00076670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0">
                <a:extLst>
                  <a:ext uri="{FF2B5EF4-FFF2-40B4-BE49-F238E27FC236}">
                    <a16:creationId xmlns:a16="http://schemas.microsoft.com/office/drawing/2014/main" id="{3C4C9466-58AA-4838-9D79-937FDE1354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13">
                <a:extLst>
                  <a:ext uri="{FF2B5EF4-FFF2-40B4-BE49-F238E27FC236}">
                    <a16:creationId xmlns:a16="http://schemas.microsoft.com/office/drawing/2014/main" id="{948A922A-4E3F-4810-ADF0-0F5C17D93A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6" name="组合 125">
              <a:extLst>
                <a:ext uri="{FF2B5EF4-FFF2-40B4-BE49-F238E27FC236}">
                  <a16:creationId xmlns:a16="http://schemas.microsoft.com/office/drawing/2014/main" id="{05CBBEFF-915C-4C53-8013-7FC832FB6C66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61" name="Freeform 9">
                <a:extLst>
                  <a:ext uri="{FF2B5EF4-FFF2-40B4-BE49-F238E27FC236}">
                    <a16:creationId xmlns:a16="http://schemas.microsoft.com/office/drawing/2014/main" id="{4EA8CB25-A7D8-4CCB-B47A-966CC3BD0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1">
                <a:extLst>
                  <a:ext uri="{FF2B5EF4-FFF2-40B4-BE49-F238E27FC236}">
                    <a16:creationId xmlns:a16="http://schemas.microsoft.com/office/drawing/2014/main" id="{B517AAA2-0B9E-48A5-8A86-07B1310570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2">
                <a:extLst>
                  <a:ext uri="{FF2B5EF4-FFF2-40B4-BE49-F238E27FC236}">
                    <a16:creationId xmlns:a16="http://schemas.microsoft.com/office/drawing/2014/main" id="{4B3BE619-7D7A-4E8E-96F4-FFFDA6FE7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14">
                <a:extLst>
                  <a:ext uri="{FF2B5EF4-FFF2-40B4-BE49-F238E27FC236}">
                    <a16:creationId xmlns:a16="http://schemas.microsoft.com/office/drawing/2014/main" id="{B12BFDEE-C509-471B-AEDF-CC8A9B059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15">
                <a:extLst>
                  <a:ext uri="{FF2B5EF4-FFF2-40B4-BE49-F238E27FC236}">
                    <a16:creationId xmlns:a16="http://schemas.microsoft.com/office/drawing/2014/main" id="{740E2858-1FA5-453D-BF82-8543BB571A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7" name="Freeform 16">
              <a:extLst>
                <a:ext uri="{FF2B5EF4-FFF2-40B4-BE49-F238E27FC236}">
                  <a16:creationId xmlns:a16="http://schemas.microsoft.com/office/drawing/2014/main" id="{41FA9D83-2920-4BD6-B6D5-BDA5C0D8B5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7">
              <a:extLst>
                <a:ext uri="{FF2B5EF4-FFF2-40B4-BE49-F238E27FC236}">
                  <a16:creationId xmlns:a16="http://schemas.microsoft.com/office/drawing/2014/main" id="{DE3DE6DC-37A1-4F4C-8AF4-D3E2FE57BB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18">
              <a:extLst>
                <a:ext uri="{FF2B5EF4-FFF2-40B4-BE49-F238E27FC236}">
                  <a16:creationId xmlns:a16="http://schemas.microsoft.com/office/drawing/2014/main" id="{56625D9E-958C-492B-B8FC-7577C7CD68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9">
              <a:extLst>
                <a:ext uri="{FF2B5EF4-FFF2-40B4-BE49-F238E27FC236}">
                  <a16:creationId xmlns:a16="http://schemas.microsoft.com/office/drawing/2014/main" id="{1B55192E-E56B-4A57-BF41-167096A4D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0">
              <a:extLst>
                <a:ext uri="{FF2B5EF4-FFF2-40B4-BE49-F238E27FC236}">
                  <a16:creationId xmlns:a16="http://schemas.microsoft.com/office/drawing/2014/main" id="{90CDEC93-D345-4665-873E-2C159A75E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1">
              <a:extLst>
                <a:ext uri="{FF2B5EF4-FFF2-40B4-BE49-F238E27FC236}">
                  <a16:creationId xmlns:a16="http://schemas.microsoft.com/office/drawing/2014/main" id="{492EDC9F-7768-44F1-9C4D-EDE95B8D1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2">
              <a:extLst>
                <a:ext uri="{FF2B5EF4-FFF2-40B4-BE49-F238E27FC236}">
                  <a16:creationId xmlns:a16="http://schemas.microsoft.com/office/drawing/2014/main" id="{50496717-7704-4DC1-A888-CE3886E5A3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3">
              <a:extLst>
                <a:ext uri="{FF2B5EF4-FFF2-40B4-BE49-F238E27FC236}">
                  <a16:creationId xmlns:a16="http://schemas.microsoft.com/office/drawing/2014/main" id="{DE0B1F1E-0FBC-4663-8742-4564BD9AF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24">
              <a:extLst>
                <a:ext uri="{FF2B5EF4-FFF2-40B4-BE49-F238E27FC236}">
                  <a16:creationId xmlns:a16="http://schemas.microsoft.com/office/drawing/2014/main" id="{9452D8BD-D5A0-418A-AD47-3F3E9077C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25">
              <a:extLst>
                <a:ext uri="{FF2B5EF4-FFF2-40B4-BE49-F238E27FC236}">
                  <a16:creationId xmlns:a16="http://schemas.microsoft.com/office/drawing/2014/main" id="{3DB3AD2A-D808-4250-948E-BBE9591DC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26">
              <a:extLst>
                <a:ext uri="{FF2B5EF4-FFF2-40B4-BE49-F238E27FC236}">
                  <a16:creationId xmlns:a16="http://schemas.microsoft.com/office/drawing/2014/main" id="{D026062D-E024-4482-AACA-1605EDAD9D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27">
              <a:extLst>
                <a:ext uri="{FF2B5EF4-FFF2-40B4-BE49-F238E27FC236}">
                  <a16:creationId xmlns:a16="http://schemas.microsoft.com/office/drawing/2014/main" id="{D0FBD10A-C056-45DF-B282-4F801EFBE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28">
              <a:extLst>
                <a:ext uri="{FF2B5EF4-FFF2-40B4-BE49-F238E27FC236}">
                  <a16:creationId xmlns:a16="http://schemas.microsoft.com/office/drawing/2014/main" id="{F03F1EAD-BA59-4172-A4E6-17611F7722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9">
              <a:extLst>
                <a:ext uri="{FF2B5EF4-FFF2-40B4-BE49-F238E27FC236}">
                  <a16:creationId xmlns:a16="http://schemas.microsoft.com/office/drawing/2014/main" id="{59656BB1-F474-46C6-9094-7C6F69FB7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0">
              <a:extLst>
                <a:ext uri="{FF2B5EF4-FFF2-40B4-BE49-F238E27FC236}">
                  <a16:creationId xmlns:a16="http://schemas.microsoft.com/office/drawing/2014/main" id="{6BE5CB86-7FC4-47A9-9BD5-5B8A074B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1">
              <a:extLst>
                <a:ext uri="{FF2B5EF4-FFF2-40B4-BE49-F238E27FC236}">
                  <a16:creationId xmlns:a16="http://schemas.microsoft.com/office/drawing/2014/main" id="{15B9BADF-0E86-4E75-8F75-74492CB96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2">
              <a:extLst>
                <a:ext uri="{FF2B5EF4-FFF2-40B4-BE49-F238E27FC236}">
                  <a16:creationId xmlns:a16="http://schemas.microsoft.com/office/drawing/2014/main" id="{5108697C-D2A1-4FEC-9724-D78E3C2EA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3">
              <a:extLst>
                <a:ext uri="{FF2B5EF4-FFF2-40B4-BE49-F238E27FC236}">
                  <a16:creationId xmlns:a16="http://schemas.microsoft.com/office/drawing/2014/main" id="{F538E9C3-4873-4053-9E8C-362A8FB220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4">
              <a:extLst>
                <a:ext uri="{FF2B5EF4-FFF2-40B4-BE49-F238E27FC236}">
                  <a16:creationId xmlns:a16="http://schemas.microsoft.com/office/drawing/2014/main" id="{DEC02708-878B-423C-B615-DCB7D9EDC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5">
              <a:extLst>
                <a:ext uri="{FF2B5EF4-FFF2-40B4-BE49-F238E27FC236}">
                  <a16:creationId xmlns:a16="http://schemas.microsoft.com/office/drawing/2014/main" id="{FDAFCE6F-9D36-4AFC-B918-45C12A185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6">
              <a:extLst>
                <a:ext uri="{FF2B5EF4-FFF2-40B4-BE49-F238E27FC236}">
                  <a16:creationId xmlns:a16="http://schemas.microsoft.com/office/drawing/2014/main" id="{CDC5D0E5-2341-485A-8AF6-FDD38397D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7">
              <a:extLst>
                <a:ext uri="{FF2B5EF4-FFF2-40B4-BE49-F238E27FC236}">
                  <a16:creationId xmlns:a16="http://schemas.microsoft.com/office/drawing/2014/main" id="{49CF6C13-94FB-4241-9A82-4FEB9CE4F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8">
              <a:extLst>
                <a:ext uri="{FF2B5EF4-FFF2-40B4-BE49-F238E27FC236}">
                  <a16:creationId xmlns:a16="http://schemas.microsoft.com/office/drawing/2014/main" id="{5FBD63F6-B7B0-4C19-BAD2-B115D1689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9">
              <a:extLst>
                <a:ext uri="{FF2B5EF4-FFF2-40B4-BE49-F238E27FC236}">
                  <a16:creationId xmlns:a16="http://schemas.microsoft.com/office/drawing/2014/main" id="{98BE2DAC-CE00-49CE-8D53-7BF3F444F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0">
              <a:extLst>
                <a:ext uri="{FF2B5EF4-FFF2-40B4-BE49-F238E27FC236}">
                  <a16:creationId xmlns:a16="http://schemas.microsoft.com/office/drawing/2014/main" id="{4717E170-ADC5-4157-A62B-D87BED58B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1">
              <a:extLst>
                <a:ext uri="{FF2B5EF4-FFF2-40B4-BE49-F238E27FC236}">
                  <a16:creationId xmlns:a16="http://schemas.microsoft.com/office/drawing/2014/main" id="{3648A078-B486-4435-A641-6435D6A69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2">
              <a:extLst>
                <a:ext uri="{FF2B5EF4-FFF2-40B4-BE49-F238E27FC236}">
                  <a16:creationId xmlns:a16="http://schemas.microsoft.com/office/drawing/2014/main" id="{31DA4600-C00B-4A69-B6AE-E53F17221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43">
              <a:extLst>
                <a:ext uri="{FF2B5EF4-FFF2-40B4-BE49-F238E27FC236}">
                  <a16:creationId xmlns:a16="http://schemas.microsoft.com/office/drawing/2014/main" id="{5FE709BC-7179-4E19-8C14-B041916EB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44">
              <a:extLst>
                <a:ext uri="{FF2B5EF4-FFF2-40B4-BE49-F238E27FC236}">
                  <a16:creationId xmlns:a16="http://schemas.microsoft.com/office/drawing/2014/main" id="{AF9762AA-C557-4DCD-BADB-FFE9E53047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45">
              <a:extLst>
                <a:ext uri="{FF2B5EF4-FFF2-40B4-BE49-F238E27FC236}">
                  <a16:creationId xmlns:a16="http://schemas.microsoft.com/office/drawing/2014/main" id="{73F85C42-2C4F-47B8-A5DA-DEDD9F4F1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46">
              <a:extLst>
                <a:ext uri="{FF2B5EF4-FFF2-40B4-BE49-F238E27FC236}">
                  <a16:creationId xmlns:a16="http://schemas.microsoft.com/office/drawing/2014/main" id="{DBCAE612-0189-4EB3-8605-F34EC7B4C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47">
              <a:extLst>
                <a:ext uri="{FF2B5EF4-FFF2-40B4-BE49-F238E27FC236}">
                  <a16:creationId xmlns:a16="http://schemas.microsoft.com/office/drawing/2014/main" id="{D4E5597E-6485-4704-BFA7-334AE9D3B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48">
              <a:extLst>
                <a:ext uri="{FF2B5EF4-FFF2-40B4-BE49-F238E27FC236}">
                  <a16:creationId xmlns:a16="http://schemas.microsoft.com/office/drawing/2014/main" id="{FF3C8819-BF17-4935-A099-6381D2BB2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49">
              <a:extLst>
                <a:ext uri="{FF2B5EF4-FFF2-40B4-BE49-F238E27FC236}">
                  <a16:creationId xmlns:a16="http://schemas.microsoft.com/office/drawing/2014/main" id="{3D8356E0-63F5-43B9-B84E-9CD30EBE6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867" y="2032403"/>
            <a:ext cx="9082268" cy="923330"/>
          </a:xfrm>
        </p:spPr>
        <p:txBody>
          <a:bodyPr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3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8F19B7F-65B9-4778-86D3-AB8EEFACE9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867" y="2982132"/>
            <a:ext cx="9082268" cy="400110"/>
          </a:xfrm>
        </p:spPr>
        <p:txBody>
          <a:bodyPr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17B40C3A-69A5-4DEB-AE10-367B448223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64083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</a:p>
        </p:txBody>
      </p:sp>
      <p:sp>
        <p:nvSpPr>
          <p:cNvPr id="63" name="文本占位符 4">
            <a:extLst>
              <a:ext uri="{FF2B5EF4-FFF2-40B4-BE49-F238E27FC236}">
                <a16:creationId xmlns:a16="http://schemas.microsoft.com/office/drawing/2014/main" id="{8CF62572-36A2-4CE2-BDFC-74F5DAB0E6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1008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</a:p>
        </p:txBody>
      </p:sp>
      <p:sp>
        <p:nvSpPr>
          <p:cNvPr id="173" name="矩形 172">
            <a:extLst>
              <a:ext uri="{FF2B5EF4-FFF2-40B4-BE49-F238E27FC236}">
                <a16:creationId xmlns:a16="http://schemas.microsoft.com/office/drawing/2014/main" id="{7E938967-9990-4D4C-B37A-F8DB3BCFD867}"/>
              </a:ext>
            </a:extLst>
          </p:cNvPr>
          <p:cNvSpPr/>
          <p:nvPr userDrawn="1"/>
        </p:nvSpPr>
        <p:spPr>
          <a:xfrm>
            <a:off x="1554867" y="3469009"/>
            <a:ext cx="9082268" cy="32747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74" name="任意多边形: 形状 173">
            <a:extLst>
              <a:ext uri="{FF2B5EF4-FFF2-40B4-BE49-F238E27FC236}">
                <a16:creationId xmlns:a16="http://schemas.microsoft.com/office/drawing/2014/main" id="{4BEC4AA5-D1F8-44A4-B512-F9342C25CB24}"/>
              </a:ext>
            </a:extLst>
          </p:cNvPr>
          <p:cNvSpPr/>
          <p:nvPr userDrawn="1"/>
        </p:nvSpPr>
        <p:spPr>
          <a:xfrm>
            <a:off x="5820641" y="-1"/>
            <a:ext cx="550718" cy="716973"/>
          </a:xfrm>
          <a:custGeom>
            <a:avLst/>
            <a:gdLst>
              <a:gd name="connsiteX0" fmla="*/ 0 w 550718"/>
              <a:gd name="connsiteY0" fmla="*/ 0 h 636270"/>
              <a:gd name="connsiteX1" fmla="*/ 550718 w 550718"/>
              <a:gd name="connsiteY1" fmla="*/ 0 h 636270"/>
              <a:gd name="connsiteX2" fmla="*/ 550718 w 550718"/>
              <a:gd name="connsiteY2" fmla="*/ 636270 h 636270"/>
              <a:gd name="connsiteX3" fmla="*/ 332814 w 550718"/>
              <a:gd name="connsiteY3" fmla="*/ 636270 h 636270"/>
              <a:gd name="connsiteX4" fmla="*/ 275359 w 550718"/>
              <a:gd name="connsiteY4" fmla="*/ 537210 h 636270"/>
              <a:gd name="connsiteX5" fmla="*/ 217904 w 550718"/>
              <a:gd name="connsiteY5" fmla="*/ 636270 h 636270"/>
              <a:gd name="connsiteX6" fmla="*/ 0 w 550718"/>
              <a:gd name="connsiteY6" fmla="*/ 636270 h 636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0718" h="636270">
                <a:moveTo>
                  <a:pt x="0" y="0"/>
                </a:moveTo>
                <a:lnTo>
                  <a:pt x="550718" y="0"/>
                </a:lnTo>
                <a:lnTo>
                  <a:pt x="550718" y="636270"/>
                </a:lnTo>
                <a:lnTo>
                  <a:pt x="332814" y="636270"/>
                </a:lnTo>
                <a:lnTo>
                  <a:pt x="275359" y="537210"/>
                </a:lnTo>
                <a:lnTo>
                  <a:pt x="217904" y="636270"/>
                </a:lnTo>
                <a:lnTo>
                  <a:pt x="0" y="63627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任意多边形: 形状 174">
            <a:extLst>
              <a:ext uri="{FF2B5EF4-FFF2-40B4-BE49-F238E27FC236}">
                <a16:creationId xmlns:a16="http://schemas.microsoft.com/office/drawing/2014/main" id="{34BE90AC-B87D-4628-BB01-C0BD9552F31A}"/>
              </a:ext>
            </a:extLst>
          </p:cNvPr>
          <p:cNvSpPr/>
          <p:nvPr userDrawn="1"/>
        </p:nvSpPr>
        <p:spPr>
          <a:xfrm>
            <a:off x="5849216" y="-1"/>
            <a:ext cx="550718" cy="751263"/>
          </a:xfrm>
          <a:custGeom>
            <a:avLst/>
            <a:gdLst>
              <a:gd name="connsiteX0" fmla="*/ 0 w 550718"/>
              <a:gd name="connsiteY0" fmla="*/ 0 h 751263"/>
              <a:gd name="connsiteX1" fmla="*/ 550718 w 550718"/>
              <a:gd name="connsiteY1" fmla="*/ 0 h 751263"/>
              <a:gd name="connsiteX2" fmla="*/ 550718 w 550718"/>
              <a:gd name="connsiteY2" fmla="*/ 34290 h 751263"/>
              <a:gd name="connsiteX3" fmla="*/ 550718 w 550718"/>
              <a:gd name="connsiteY3" fmla="*/ 97155 h 751263"/>
              <a:gd name="connsiteX4" fmla="*/ 550718 w 550718"/>
              <a:gd name="connsiteY4" fmla="*/ 751263 h 751263"/>
              <a:gd name="connsiteX5" fmla="*/ 332814 w 550718"/>
              <a:gd name="connsiteY5" fmla="*/ 751263 h 751263"/>
              <a:gd name="connsiteX6" fmla="*/ 275359 w 550718"/>
              <a:gd name="connsiteY6" fmla="*/ 639638 h 751263"/>
              <a:gd name="connsiteX7" fmla="*/ 217904 w 550718"/>
              <a:gd name="connsiteY7" fmla="*/ 751263 h 751263"/>
              <a:gd name="connsiteX8" fmla="*/ 0 w 550718"/>
              <a:gd name="connsiteY8" fmla="*/ 751263 h 751263"/>
              <a:gd name="connsiteX9" fmla="*/ 0 w 550718"/>
              <a:gd name="connsiteY9" fmla="*/ 97155 h 751263"/>
              <a:gd name="connsiteX10" fmla="*/ 0 w 550718"/>
              <a:gd name="connsiteY10" fmla="*/ 34290 h 751263"/>
              <a:gd name="connsiteX0" fmla="*/ 0 w 550718"/>
              <a:gd name="connsiteY0" fmla="*/ 15239 h 766502"/>
              <a:gd name="connsiteX1" fmla="*/ 471574 w 550718"/>
              <a:gd name="connsiteY1" fmla="*/ 0 h 766502"/>
              <a:gd name="connsiteX2" fmla="*/ 550718 w 550718"/>
              <a:gd name="connsiteY2" fmla="*/ 15239 h 766502"/>
              <a:gd name="connsiteX3" fmla="*/ 550718 w 550718"/>
              <a:gd name="connsiteY3" fmla="*/ 49529 h 766502"/>
              <a:gd name="connsiteX4" fmla="*/ 550718 w 550718"/>
              <a:gd name="connsiteY4" fmla="*/ 112394 h 766502"/>
              <a:gd name="connsiteX5" fmla="*/ 550718 w 550718"/>
              <a:gd name="connsiteY5" fmla="*/ 766502 h 766502"/>
              <a:gd name="connsiteX6" fmla="*/ 332814 w 550718"/>
              <a:gd name="connsiteY6" fmla="*/ 766502 h 766502"/>
              <a:gd name="connsiteX7" fmla="*/ 275359 w 550718"/>
              <a:gd name="connsiteY7" fmla="*/ 654877 h 766502"/>
              <a:gd name="connsiteX8" fmla="*/ 217904 w 550718"/>
              <a:gd name="connsiteY8" fmla="*/ 766502 h 766502"/>
              <a:gd name="connsiteX9" fmla="*/ 0 w 550718"/>
              <a:gd name="connsiteY9" fmla="*/ 766502 h 766502"/>
              <a:gd name="connsiteX10" fmla="*/ 0 w 550718"/>
              <a:gd name="connsiteY10" fmla="*/ 112394 h 766502"/>
              <a:gd name="connsiteX11" fmla="*/ 0 w 550718"/>
              <a:gd name="connsiteY11" fmla="*/ 49529 h 766502"/>
              <a:gd name="connsiteX12" fmla="*/ 0 w 550718"/>
              <a:gd name="connsiteY12" fmla="*/ 15239 h 766502"/>
              <a:gd name="connsiteX0" fmla="*/ 471574 w 563014"/>
              <a:gd name="connsiteY0" fmla="*/ 0 h 766502"/>
              <a:gd name="connsiteX1" fmla="*/ 550718 w 563014"/>
              <a:gd name="connsiteY1" fmla="*/ 15239 h 766502"/>
              <a:gd name="connsiteX2" fmla="*/ 550718 w 563014"/>
              <a:gd name="connsiteY2" fmla="*/ 49529 h 766502"/>
              <a:gd name="connsiteX3" fmla="*/ 550718 w 563014"/>
              <a:gd name="connsiteY3" fmla="*/ 112394 h 766502"/>
              <a:gd name="connsiteX4" fmla="*/ 550718 w 563014"/>
              <a:gd name="connsiteY4" fmla="*/ 766502 h 766502"/>
              <a:gd name="connsiteX5" fmla="*/ 332814 w 563014"/>
              <a:gd name="connsiteY5" fmla="*/ 766502 h 766502"/>
              <a:gd name="connsiteX6" fmla="*/ 275359 w 563014"/>
              <a:gd name="connsiteY6" fmla="*/ 654877 h 766502"/>
              <a:gd name="connsiteX7" fmla="*/ 217904 w 563014"/>
              <a:gd name="connsiteY7" fmla="*/ 766502 h 766502"/>
              <a:gd name="connsiteX8" fmla="*/ 0 w 563014"/>
              <a:gd name="connsiteY8" fmla="*/ 766502 h 766502"/>
              <a:gd name="connsiteX9" fmla="*/ 0 w 563014"/>
              <a:gd name="connsiteY9" fmla="*/ 112394 h 766502"/>
              <a:gd name="connsiteX10" fmla="*/ 0 w 563014"/>
              <a:gd name="connsiteY10" fmla="*/ 49529 h 766502"/>
              <a:gd name="connsiteX11" fmla="*/ 0 w 563014"/>
              <a:gd name="connsiteY11" fmla="*/ 15239 h 766502"/>
              <a:gd name="connsiteX12" fmla="*/ 563014 w 563014"/>
              <a:gd name="connsiteY12" fmla="*/ 91440 h 766502"/>
              <a:gd name="connsiteX0" fmla="*/ 550718 w 563014"/>
              <a:gd name="connsiteY0" fmla="*/ 1132 h 752395"/>
              <a:gd name="connsiteX1" fmla="*/ 550718 w 563014"/>
              <a:gd name="connsiteY1" fmla="*/ 35422 h 752395"/>
              <a:gd name="connsiteX2" fmla="*/ 550718 w 563014"/>
              <a:gd name="connsiteY2" fmla="*/ 98287 h 752395"/>
              <a:gd name="connsiteX3" fmla="*/ 550718 w 563014"/>
              <a:gd name="connsiteY3" fmla="*/ 752395 h 752395"/>
              <a:gd name="connsiteX4" fmla="*/ 332814 w 563014"/>
              <a:gd name="connsiteY4" fmla="*/ 752395 h 752395"/>
              <a:gd name="connsiteX5" fmla="*/ 275359 w 563014"/>
              <a:gd name="connsiteY5" fmla="*/ 640770 h 752395"/>
              <a:gd name="connsiteX6" fmla="*/ 217904 w 563014"/>
              <a:gd name="connsiteY6" fmla="*/ 752395 h 752395"/>
              <a:gd name="connsiteX7" fmla="*/ 0 w 563014"/>
              <a:gd name="connsiteY7" fmla="*/ 752395 h 752395"/>
              <a:gd name="connsiteX8" fmla="*/ 0 w 563014"/>
              <a:gd name="connsiteY8" fmla="*/ 98287 h 752395"/>
              <a:gd name="connsiteX9" fmla="*/ 0 w 563014"/>
              <a:gd name="connsiteY9" fmla="*/ 35422 h 752395"/>
              <a:gd name="connsiteX10" fmla="*/ 0 w 563014"/>
              <a:gd name="connsiteY10" fmla="*/ 1132 h 752395"/>
              <a:gd name="connsiteX11" fmla="*/ 563014 w 563014"/>
              <a:gd name="connsiteY11" fmla="*/ 77333 h 752395"/>
              <a:gd name="connsiteX0" fmla="*/ 550718 w 550718"/>
              <a:gd name="connsiteY0" fmla="*/ 0 h 751263"/>
              <a:gd name="connsiteX1" fmla="*/ 550718 w 550718"/>
              <a:gd name="connsiteY1" fmla="*/ 34290 h 751263"/>
              <a:gd name="connsiteX2" fmla="*/ 550718 w 550718"/>
              <a:gd name="connsiteY2" fmla="*/ 97155 h 751263"/>
              <a:gd name="connsiteX3" fmla="*/ 550718 w 550718"/>
              <a:gd name="connsiteY3" fmla="*/ 751263 h 751263"/>
              <a:gd name="connsiteX4" fmla="*/ 332814 w 550718"/>
              <a:gd name="connsiteY4" fmla="*/ 751263 h 751263"/>
              <a:gd name="connsiteX5" fmla="*/ 275359 w 550718"/>
              <a:gd name="connsiteY5" fmla="*/ 639638 h 751263"/>
              <a:gd name="connsiteX6" fmla="*/ 217904 w 550718"/>
              <a:gd name="connsiteY6" fmla="*/ 751263 h 751263"/>
              <a:gd name="connsiteX7" fmla="*/ 0 w 550718"/>
              <a:gd name="connsiteY7" fmla="*/ 751263 h 751263"/>
              <a:gd name="connsiteX8" fmla="*/ 0 w 550718"/>
              <a:gd name="connsiteY8" fmla="*/ 97155 h 751263"/>
              <a:gd name="connsiteX9" fmla="*/ 0 w 550718"/>
              <a:gd name="connsiteY9" fmla="*/ 34290 h 751263"/>
              <a:gd name="connsiteX10" fmla="*/ 0 w 550718"/>
              <a:gd name="connsiteY10" fmla="*/ 0 h 751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50718" h="751263">
                <a:moveTo>
                  <a:pt x="550718" y="0"/>
                </a:moveTo>
                <a:lnTo>
                  <a:pt x="550718" y="34290"/>
                </a:lnTo>
                <a:lnTo>
                  <a:pt x="550718" y="97155"/>
                </a:lnTo>
                <a:lnTo>
                  <a:pt x="550718" y="751263"/>
                </a:lnTo>
                <a:lnTo>
                  <a:pt x="332814" y="751263"/>
                </a:lnTo>
                <a:lnTo>
                  <a:pt x="275359" y="639638"/>
                </a:lnTo>
                <a:lnTo>
                  <a:pt x="217904" y="751263"/>
                </a:lnTo>
                <a:lnTo>
                  <a:pt x="0" y="751263"/>
                </a:lnTo>
                <a:lnTo>
                  <a:pt x="0" y="97155"/>
                </a:lnTo>
                <a:lnTo>
                  <a:pt x="0" y="3429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728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>
            <a:extLst>
              <a:ext uri="{FF2B5EF4-FFF2-40B4-BE49-F238E27FC236}">
                <a16:creationId xmlns:a16="http://schemas.microsoft.com/office/drawing/2014/main" id="{B77AD97D-BFE2-4375-A3F5-5371BC3AFF12}"/>
              </a:ext>
            </a:extLst>
          </p:cNvPr>
          <p:cNvSpPr txBox="1"/>
          <p:nvPr userDrawn="1"/>
        </p:nvSpPr>
        <p:spPr>
          <a:xfrm>
            <a:off x="9224996" y="4705700"/>
            <a:ext cx="766112" cy="964050"/>
          </a:xfrm>
          <a:custGeom>
            <a:avLst/>
            <a:gdLst/>
            <a:ahLst/>
            <a:cxnLst/>
            <a:rect l="l" t="t" r="r" b="b"/>
            <a:pathLst>
              <a:path w="520155" h="654546">
                <a:moveTo>
                  <a:pt x="0" y="0"/>
                </a:moveTo>
                <a:lnTo>
                  <a:pt x="520155" y="0"/>
                </a:lnTo>
                <a:lnTo>
                  <a:pt x="520155" y="110728"/>
                </a:lnTo>
                <a:lnTo>
                  <a:pt x="326380" y="110728"/>
                </a:lnTo>
                <a:lnTo>
                  <a:pt x="326380" y="654546"/>
                </a:lnTo>
                <a:lnTo>
                  <a:pt x="194221" y="654546"/>
                </a:lnTo>
                <a:lnTo>
                  <a:pt x="194221" y="110728"/>
                </a:lnTo>
                <a:lnTo>
                  <a:pt x="0" y="1107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ADA4756E-8CD0-49DA-B5C4-2A5A3688938B}"/>
              </a:ext>
            </a:extLst>
          </p:cNvPr>
          <p:cNvSpPr txBox="1"/>
          <p:nvPr userDrawn="1"/>
        </p:nvSpPr>
        <p:spPr>
          <a:xfrm>
            <a:off x="10506309" y="4693209"/>
            <a:ext cx="783865" cy="997588"/>
          </a:xfrm>
          <a:custGeom>
            <a:avLst/>
            <a:gdLst/>
            <a:ahLst/>
            <a:cxnLst/>
            <a:rect l="l" t="t" r="r" b="b"/>
            <a:pathLst>
              <a:path w="532209" h="677316">
                <a:moveTo>
                  <a:pt x="262533" y="0"/>
                </a:moveTo>
                <a:cubicBezTo>
                  <a:pt x="344686" y="0"/>
                  <a:pt x="406524" y="18008"/>
                  <a:pt x="448047" y="54024"/>
                </a:cubicBezTo>
                <a:cubicBezTo>
                  <a:pt x="489570" y="90041"/>
                  <a:pt x="511373" y="138112"/>
                  <a:pt x="513457" y="198239"/>
                </a:cubicBezTo>
                <a:lnTo>
                  <a:pt x="381298" y="204043"/>
                </a:lnTo>
                <a:cubicBezTo>
                  <a:pt x="375642" y="170408"/>
                  <a:pt x="363513" y="146223"/>
                  <a:pt x="344909" y="131489"/>
                </a:cubicBezTo>
                <a:cubicBezTo>
                  <a:pt x="326306" y="116755"/>
                  <a:pt x="298400" y="109388"/>
                  <a:pt x="261193" y="109388"/>
                </a:cubicBezTo>
                <a:cubicBezTo>
                  <a:pt x="222796" y="109388"/>
                  <a:pt x="192732" y="117276"/>
                  <a:pt x="171003" y="133052"/>
                </a:cubicBezTo>
                <a:cubicBezTo>
                  <a:pt x="157014" y="143172"/>
                  <a:pt x="150019" y="156716"/>
                  <a:pt x="150019" y="173682"/>
                </a:cubicBezTo>
                <a:cubicBezTo>
                  <a:pt x="150019" y="189160"/>
                  <a:pt x="156567" y="202406"/>
                  <a:pt x="169664" y="213419"/>
                </a:cubicBezTo>
                <a:cubicBezTo>
                  <a:pt x="186333" y="227409"/>
                  <a:pt x="226814" y="241994"/>
                  <a:pt x="291108" y="257175"/>
                </a:cubicBezTo>
                <a:cubicBezTo>
                  <a:pt x="355401" y="272355"/>
                  <a:pt x="402952" y="288056"/>
                  <a:pt x="433759" y="304279"/>
                </a:cubicBezTo>
                <a:cubicBezTo>
                  <a:pt x="464567" y="320501"/>
                  <a:pt x="488677" y="342676"/>
                  <a:pt x="506090" y="370805"/>
                </a:cubicBezTo>
                <a:cubicBezTo>
                  <a:pt x="523503" y="398933"/>
                  <a:pt x="532209" y="433685"/>
                  <a:pt x="532209" y="475059"/>
                </a:cubicBezTo>
                <a:cubicBezTo>
                  <a:pt x="532209" y="512564"/>
                  <a:pt x="521791" y="547687"/>
                  <a:pt x="500955" y="580429"/>
                </a:cubicBezTo>
                <a:cubicBezTo>
                  <a:pt x="480119" y="613171"/>
                  <a:pt x="450651" y="637505"/>
                  <a:pt x="412551" y="653429"/>
                </a:cubicBezTo>
                <a:cubicBezTo>
                  <a:pt x="374451" y="669354"/>
                  <a:pt x="326975" y="677316"/>
                  <a:pt x="270123" y="677316"/>
                </a:cubicBezTo>
                <a:cubicBezTo>
                  <a:pt x="187374" y="677316"/>
                  <a:pt x="123825" y="658192"/>
                  <a:pt x="79474" y="619943"/>
                </a:cubicBezTo>
                <a:cubicBezTo>
                  <a:pt x="35123" y="581694"/>
                  <a:pt x="8632" y="525958"/>
                  <a:pt x="0" y="452735"/>
                </a:cubicBezTo>
                <a:lnTo>
                  <a:pt x="128587" y="440233"/>
                </a:lnTo>
                <a:cubicBezTo>
                  <a:pt x="136326" y="483393"/>
                  <a:pt x="152028" y="515094"/>
                  <a:pt x="175691" y="535334"/>
                </a:cubicBezTo>
                <a:cubicBezTo>
                  <a:pt x="199355" y="555575"/>
                  <a:pt x="231279" y="565695"/>
                  <a:pt x="271462" y="565695"/>
                </a:cubicBezTo>
                <a:cubicBezTo>
                  <a:pt x="314027" y="565695"/>
                  <a:pt x="346100" y="556691"/>
                  <a:pt x="367680" y="538683"/>
                </a:cubicBezTo>
                <a:cubicBezTo>
                  <a:pt x="389260" y="520675"/>
                  <a:pt x="400050" y="499616"/>
                  <a:pt x="400050" y="475505"/>
                </a:cubicBezTo>
                <a:cubicBezTo>
                  <a:pt x="400050" y="460027"/>
                  <a:pt x="395511" y="446856"/>
                  <a:pt x="386432" y="435991"/>
                </a:cubicBezTo>
                <a:cubicBezTo>
                  <a:pt x="377354" y="425127"/>
                  <a:pt x="361503" y="415676"/>
                  <a:pt x="338882" y="407640"/>
                </a:cubicBezTo>
                <a:cubicBezTo>
                  <a:pt x="323403" y="402282"/>
                  <a:pt x="288131" y="392757"/>
                  <a:pt x="233065" y="379065"/>
                </a:cubicBezTo>
                <a:cubicBezTo>
                  <a:pt x="162222" y="361503"/>
                  <a:pt x="112514" y="339923"/>
                  <a:pt x="83939" y="314325"/>
                </a:cubicBezTo>
                <a:cubicBezTo>
                  <a:pt x="43755" y="278308"/>
                  <a:pt x="23664" y="234404"/>
                  <a:pt x="23664" y="182612"/>
                </a:cubicBezTo>
                <a:cubicBezTo>
                  <a:pt x="23664" y="149274"/>
                  <a:pt x="33114" y="118095"/>
                  <a:pt x="52015" y="89073"/>
                </a:cubicBezTo>
                <a:cubicBezTo>
                  <a:pt x="70916" y="60052"/>
                  <a:pt x="98152" y="37951"/>
                  <a:pt x="133722" y="22770"/>
                </a:cubicBezTo>
                <a:cubicBezTo>
                  <a:pt x="169292" y="7590"/>
                  <a:pt x="212229" y="0"/>
                  <a:pt x="26253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03A8474-C020-4B0E-92E8-A14480ADC5AE}"/>
              </a:ext>
            </a:extLst>
          </p:cNvPr>
          <p:cNvSpPr txBox="1"/>
          <p:nvPr userDrawn="1"/>
        </p:nvSpPr>
        <p:spPr>
          <a:xfrm>
            <a:off x="1329968" y="4693209"/>
            <a:ext cx="839765" cy="996932"/>
          </a:xfrm>
          <a:custGeom>
            <a:avLst/>
            <a:gdLst/>
            <a:ahLst/>
            <a:cxnLst/>
            <a:rect l="l" t="t" r="r" b="b"/>
            <a:pathLst>
              <a:path w="570161" h="676870">
                <a:moveTo>
                  <a:pt x="306288" y="0"/>
                </a:moveTo>
                <a:cubicBezTo>
                  <a:pt x="386358" y="0"/>
                  <a:pt x="451396" y="23663"/>
                  <a:pt x="501402" y="70991"/>
                </a:cubicBezTo>
                <a:cubicBezTo>
                  <a:pt x="531168" y="98970"/>
                  <a:pt x="553492" y="139154"/>
                  <a:pt x="568375" y="191541"/>
                </a:cubicBezTo>
                <a:lnTo>
                  <a:pt x="437555" y="222795"/>
                </a:lnTo>
                <a:cubicBezTo>
                  <a:pt x="429816" y="188862"/>
                  <a:pt x="413668" y="162073"/>
                  <a:pt x="389111" y="142428"/>
                </a:cubicBezTo>
                <a:cubicBezTo>
                  <a:pt x="364555" y="122783"/>
                  <a:pt x="334715" y="112960"/>
                  <a:pt x="299591" y="112960"/>
                </a:cubicBezTo>
                <a:cubicBezTo>
                  <a:pt x="251073" y="112960"/>
                  <a:pt x="211708" y="130373"/>
                  <a:pt x="181496" y="165199"/>
                </a:cubicBezTo>
                <a:cubicBezTo>
                  <a:pt x="151284" y="200025"/>
                  <a:pt x="136178" y="256430"/>
                  <a:pt x="136178" y="334416"/>
                </a:cubicBezTo>
                <a:cubicBezTo>
                  <a:pt x="136178" y="417165"/>
                  <a:pt x="151061" y="476101"/>
                  <a:pt x="180826" y="511224"/>
                </a:cubicBezTo>
                <a:cubicBezTo>
                  <a:pt x="210592" y="546348"/>
                  <a:pt x="249287" y="563909"/>
                  <a:pt x="296912" y="563909"/>
                </a:cubicBezTo>
                <a:cubicBezTo>
                  <a:pt x="332036" y="563909"/>
                  <a:pt x="362248" y="552747"/>
                  <a:pt x="387549" y="530423"/>
                </a:cubicBezTo>
                <a:cubicBezTo>
                  <a:pt x="412849" y="508099"/>
                  <a:pt x="431006" y="472975"/>
                  <a:pt x="442020" y="425053"/>
                </a:cubicBezTo>
                <a:lnTo>
                  <a:pt x="570161" y="465683"/>
                </a:lnTo>
                <a:cubicBezTo>
                  <a:pt x="550515" y="537120"/>
                  <a:pt x="517848" y="590177"/>
                  <a:pt x="472157" y="624854"/>
                </a:cubicBezTo>
                <a:cubicBezTo>
                  <a:pt x="426467" y="659531"/>
                  <a:pt x="368499" y="676870"/>
                  <a:pt x="298252" y="676870"/>
                </a:cubicBezTo>
                <a:cubicBezTo>
                  <a:pt x="211336" y="676870"/>
                  <a:pt x="139899" y="647179"/>
                  <a:pt x="83939" y="587796"/>
                </a:cubicBezTo>
                <a:cubicBezTo>
                  <a:pt x="27980" y="528414"/>
                  <a:pt x="0" y="447228"/>
                  <a:pt x="0" y="344239"/>
                </a:cubicBezTo>
                <a:cubicBezTo>
                  <a:pt x="0" y="235297"/>
                  <a:pt x="28129" y="150688"/>
                  <a:pt x="84386" y="90413"/>
                </a:cubicBezTo>
                <a:cubicBezTo>
                  <a:pt x="140643" y="30137"/>
                  <a:pt x="214610" y="0"/>
                  <a:pt x="3062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9A70BE23-C686-4100-B2EC-8E61254EDDAF}"/>
              </a:ext>
            </a:extLst>
          </p:cNvPr>
          <p:cNvSpPr txBox="1"/>
          <p:nvPr userDrawn="1"/>
        </p:nvSpPr>
        <p:spPr>
          <a:xfrm>
            <a:off x="2684935" y="4693210"/>
            <a:ext cx="935117" cy="996931"/>
          </a:xfrm>
          <a:custGeom>
            <a:avLst/>
            <a:gdLst/>
            <a:ahLst/>
            <a:cxnLst/>
            <a:rect l="l" t="t" r="r" b="b"/>
            <a:pathLst>
              <a:path w="634901" h="676870">
                <a:moveTo>
                  <a:pt x="317897" y="112960"/>
                </a:moveTo>
                <a:cubicBezTo>
                  <a:pt x="263426" y="112960"/>
                  <a:pt x="219522" y="131638"/>
                  <a:pt x="186184" y="168994"/>
                </a:cubicBezTo>
                <a:cubicBezTo>
                  <a:pt x="152847" y="206350"/>
                  <a:pt x="136178" y="262681"/>
                  <a:pt x="136178" y="337988"/>
                </a:cubicBezTo>
                <a:cubicBezTo>
                  <a:pt x="136178" y="412105"/>
                  <a:pt x="153293" y="468287"/>
                  <a:pt x="187524" y="506536"/>
                </a:cubicBezTo>
                <a:cubicBezTo>
                  <a:pt x="221754" y="544785"/>
                  <a:pt x="265212" y="563909"/>
                  <a:pt x="317897" y="563909"/>
                </a:cubicBezTo>
                <a:cubicBezTo>
                  <a:pt x="370582" y="563909"/>
                  <a:pt x="413817" y="544934"/>
                  <a:pt x="447601" y="506982"/>
                </a:cubicBezTo>
                <a:cubicBezTo>
                  <a:pt x="481385" y="469031"/>
                  <a:pt x="498277" y="412105"/>
                  <a:pt x="498277" y="336202"/>
                </a:cubicBezTo>
                <a:cubicBezTo>
                  <a:pt x="498277" y="261193"/>
                  <a:pt x="481831" y="205234"/>
                  <a:pt x="448940" y="168324"/>
                </a:cubicBezTo>
                <a:cubicBezTo>
                  <a:pt x="416049" y="131415"/>
                  <a:pt x="372368" y="112960"/>
                  <a:pt x="317897" y="112960"/>
                </a:cubicBezTo>
                <a:close/>
                <a:moveTo>
                  <a:pt x="316558" y="0"/>
                </a:moveTo>
                <a:cubicBezTo>
                  <a:pt x="412998" y="0"/>
                  <a:pt x="490166" y="29914"/>
                  <a:pt x="548060" y="89743"/>
                </a:cubicBezTo>
                <a:cubicBezTo>
                  <a:pt x="605954" y="149572"/>
                  <a:pt x="634901" y="232767"/>
                  <a:pt x="634901" y="339328"/>
                </a:cubicBezTo>
                <a:cubicBezTo>
                  <a:pt x="634901" y="444996"/>
                  <a:pt x="606177" y="527670"/>
                  <a:pt x="548730" y="587350"/>
                </a:cubicBezTo>
                <a:cubicBezTo>
                  <a:pt x="491282" y="647030"/>
                  <a:pt x="414487" y="676870"/>
                  <a:pt x="318344" y="676870"/>
                </a:cubicBezTo>
                <a:cubicBezTo>
                  <a:pt x="221010" y="676870"/>
                  <a:pt x="143619" y="647179"/>
                  <a:pt x="86172" y="587796"/>
                </a:cubicBezTo>
                <a:cubicBezTo>
                  <a:pt x="28724" y="528414"/>
                  <a:pt x="0" y="446633"/>
                  <a:pt x="0" y="342453"/>
                </a:cubicBezTo>
                <a:cubicBezTo>
                  <a:pt x="0" y="275778"/>
                  <a:pt x="9972" y="219819"/>
                  <a:pt x="29915" y="174575"/>
                </a:cubicBezTo>
                <a:cubicBezTo>
                  <a:pt x="44798" y="141237"/>
                  <a:pt x="65113" y="111323"/>
                  <a:pt x="90860" y="84832"/>
                </a:cubicBezTo>
                <a:cubicBezTo>
                  <a:pt x="116607" y="58340"/>
                  <a:pt x="144810" y="38695"/>
                  <a:pt x="175469" y="25896"/>
                </a:cubicBezTo>
                <a:cubicBezTo>
                  <a:pt x="216248" y="8632"/>
                  <a:pt x="263277" y="0"/>
                  <a:pt x="31655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E3DCC7BF-1849-42DA-B95E-771014DC5F9C}"/>
              </a:ext>
            </a:extLst>
          </p:cNvPr>
          <p:cNvSpPr txBox="1"/>
          <p:nvPr userDrawn="1"/>
        </p:nvSpPr>
        <p:spPr>
          <a:xfrm>
            <a:off x="6696565" y="4705701"/>
            <a:ext cx="733231" cy="964052"/>
          </a:xfrm>
          <a:custGeom>
            <a:avLst/>
            <a:gdLst/>
            <a:ahLst/>
            <a:cxnLst/>
            <a:rect l="l" t="t" r="r" b="b"/>
            <a:pathLst>
              <a:path w="497830" h="654546">
                <a:moveTo>
                  <a:pt x="0" y="0"/>
                </a:moveTo>
                <a:lnTo>
                  <a:pt x="485329" y="0"/>
                </a:lnTo>
                <a:lnTo>
                  <a:pt x="485329" y="110728"/>
                </a:lnTo>
                <a:lnTo>
                  <a:pt x="132160" y="110728"/>
                </a:lnTo>
                <a:lnTo>
                  <a:pt x="132160" y="255835"/>
                </a:lnTo>
                <a:lnTo>
                  <a:pt x="460772" y="255835"/>
                </a:lnTo>
                <a:lnTo>
                  <a:pt x="460772" y="366117"/>
                </a:lnTo>
                <a:lnTo>
                  <a:pt x="132160" y="366117"/>
                </a:lnTo>
                <a:lnTo>
                  <a:pt x="132160" y="544264"/>
                </a:lnTo>
                <a:lnTo>
                  <a:pt x="497830" y="544264"/>
                </a:lnTo>
                <a:lnTo>
                  <a:pt x="497830" y="654546"/>
                </a:lnTo>
                <a:lnTo>
                  <a:pt x="0" y="6545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1B0E7C1E-4D28-4AA4-9253-AD8ED48B18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brightnessContrast brigh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23141"/>
          <a:stretch/>
        </p:blipFill>
        <p:spPr>
          <a:xfrm>
            <a:off x="0" y="4085862"/>
            <a:ext cx="12192000" cy="2772137"/>
          </a:xfrm>
          <a:prstGeom prst="rect">
            <a:avLst/>
          </a:prstGeom>
        </p:spPr>
      </p:pic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70499467-D277-45EC-87F8-AC53398BBBFE}"/>
              </a:ext>
            </a:extLst>
          </p:cNvPr>
          <p:cNvGrpSpPr/>
          <p:nvPr userDrawn="1"/>
        </p:nvGrpSpPr>
        <p:grpSpPr>
          <a:xfrm>
            <a:off x="8431598" y="0"/>
            <a:ext cx="3760402" cy="4528788"/>
            <a:chOff x="8431598" y="0"/>
            <a:chExt cx="3760402" cy="4528788"/>
          </a:xfrm>
        </p:grpSpPr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44E408E8-F3B4-4A24-A730-0E23A7E9F7F2}"/>
                </a:ext>
              </a:extLst>
            </p:cNvPr>
            <p:cNvSpPr/>
            <p:nvPr/>
          </p:nvSpPr>
          <p:spPr>
            <a:xfrm>
              <a:off x="10434932" y="0"/>
              <a:ext cx="1757068" cy="4528788"/>
            </a:xfrm>
            <a:custGeom>
              <a:avLst/>
              <a:gdLst>
                <a:gd name="connsiteX0" fmla="*/ 1273576 w 1757068"/>
                <a:gd name="connsiteY0" fmla="*/ 0 h 4528788"/>
                <a:gd name="connsiteX1" fmla="*/ 1757068 w 1757068"/>
                <a:gd name="connsiteY1" fmla="*/ 0 h 4528788"/>
                <a:gd name="connsiteX2" fmla="*/ 1757068 w 1757068"/>
                <a:gd name="connsiteY2" fmla="*/ 980624 h 4528788"/>
                <a:gd name="connsiteX3" fmla="*/ 759261 w 1757068"/>
                <a:gd name="connsiteY3" fmla="*/ 4528788 h 4528788"/>
                <a:gd name="connsiteX4" fmla="*/ 0 w 1757068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7068" h="4528788">
                  <a:moveTo>
                    <a:pt x="1273576" y="0"/>
                  </a:moveTo>
                  <a:lnTo>
                    <a:pt x="1757068" y="0"/>
                  </a:lnTo>
                  <a:lnTo>
                    <a:pt x="1757068" y="980624"/>
                  </a:lnTo>
                  <a:lnTo>
                    <a:pt x="759261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74B9CACC-398B-45C1-82DC-71AEAF77BEA5}"/>
                </a:ext>
              </a:extLst>
            </p:cNvPr>
            <p:cNvSpPr/>
            <p:nvPr/>
          </p:nvSpPr>
          <p:spPr>
            <a:xfrm>
              <a:off x="8431598" y="0"/>
              <a:ext cx="3760402" cy="4528788"/>
            </a:xfrm>
            <a:custGeom>
              <a:avLst/>
              <a:gdLst>
                <a:gd name="connsiteX0" fmla="*/ 1289144 w 3760402"/>
                <a:gd name="connsiteY0" fmla="*/ 0 h 4528788"/>
                <a:gd name="connsiteX1" fmla="*/ 3760402 w 3760402"/>
                <a:gd name="connsiteY1" fmla="*/ 0 h 4528788"/>
                <a:gd name="connsiteX2" fmla="*/ 3760402 w 3760402"/>
                <a:gd name="connsiteY2" fmla="*/ 247103 h 4528788"/>
                <a:gd name="connsiteX3" fmla="*/ 2541597 w 3760402"/>
                <a:gd name="connsiteY3" fmla="*/ 4528788 h 4528788"/>
                <a:gd name="connsiteX4" fmla="*/ 0 w 3760402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0402" h="4528788">
                  <a:moveTo>
                    <a:pt x="1289144" y="0"/>
                  </a:moveTo>
                  <a:lnTo>
                    <a:pt x="3760402" y="0"/>
                  </a:lnTo>
                  <a:lnTo>
                    <a:pt x="3760402" y="247103"/>
                  </a:lnTo>
                  <a:lnTo>
                    <a:pt x="2541597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FEC1A5A6-9660-4E40-8F79-001E9C2B6789}"/>
                </a:ext>
              </a:extLst>
            </p:cNvPr>
            <p:cNvSpPr/>
            <p:nvPr/>
          </p:nvSpPr>
          <p:spPr>
            <a:xfrm>
              <a:off x="8728052" y="0"/>
              <a:ext cx="1403628" cy="2897528"/>
            </a:xfrm>
            <a:custGeom>
              <a:avLst/>
              <a:gdLst>
                <a:gd name="connsiteX0" fmla="*/ 814836 w 1403628"/>
                <a:gd name="connsiteY0" fmla="*/ 0 h 2897528"/>
                <a:gd name="connsiteX1" fmla="*/ 1403628 w 1403628"/>
                <a:gd name="connsiteY1" fmla="*/ 0 h 2897528"/>
                <a:gd name="connsiteX2" fmla="*/ 588792 w 1403628"/>
                <a:gd name="connsiteY2" fmla="*/ 2897528 h 2897528"/>
                <a:gd name="connsiteX3" fmla="*/ 0 w 1403628"/>
                <a:gd name="connsiteY3" fmla="*/ 2897528 h 2897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628" h="2897528">
                  <a:moveTo>
                    <a:pt x="814836" y="0"/>
                  </a:moveTo>
                  <a:lnTo>
                    <a:pt x="1403628" y="0"/>
                  </a:lnTo>
                  <a:lnTo>
                    <a:pt x="588792" y="2897528"/>
                  </a:lnTo>
                  <a:lnTo>
                    <a:pt x="0" y="289752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2" name="平行四边形 31">
            <a:extLst>
              <a:ext uri="{FF2B5EF4-FFF2-40B4-BE49-F238E27FC236}">
                <a16:creationId xmlns:a16="http://schemas.microsoft.com/office/drawing/2014/main" id="{F0486ED7-A242-4EB1-A5E5-926BB84B24FA}"/>
              </a:ext>
            </a:extLst>
          </p:cNvPr>
          <p:cNvSpPr/>
          <p:nvPr userDrawn="1"/>
        </p:nvSpPr>
        <p:spPr>
          <a:xfrm>
            <a:off x="290218" y="-24137"/>
            <a:ext cx="2818743" cy="6325432"/>
          </a:xfrm>
          <a:prstGeom prst="parallelogram">
            <a:avLst>
              <a:gd name="adj" fmla="val 63107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100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5" name="任意多边形: 形状 104">
            <a:extLst>
              <a:ext uri="{FF2B5EF4-FFF2-40B4-BE49-F238E27FC236}">
                <a16:creationId xmlns:a16="http://schemas.microsoft.com/office/drawing/2014/main" id="{3180F2E8-33A9-40C1-AF54-5457969F590F}"/>
              </a:ext>
            </a:extLst>
          </p:cNvPr>
          <p:cNvSpPr/>
          <p:nvPr userDrawn="1"/>
        </p:nvSpPr>
        <p:spPr>
          <a:xfrm>
            <a:off x="0" y="1"/>
            <a:ext cx="2821146" cy="6301295"/>
          </a:xfrm>
          <a:custGeom>
            <a:avLst/>
            <a:gdLst>
              <a:gd name="connsiteX0" fmla="*/ 0 w 2821146"/>
              <a:gd name="connsiteY0" fmla="*/ 0 h 6301295"/>
              <a:gd name="connsiteX1" fmla="*/ 2821146 w 2821146"/>
              <a:gd name="connsiteY1" fmla="*/ 0 h 6301295"/>
              <a:gd name="connsiteX2" fmla="*/ 1027448 w 2821146"/>
              <a:gd name="connsiteY2" fmla="*/ 6301295 h 6301295"/>
              <a:gd name="connsiteX3" fmla="*/ 0 w 2821146"/>
              <a:gd name="connsiteY3" fmla="*/ 6301295 h 6301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1146" h="6301295">
                <a:moveTo>
                  <a:pt x="0" y="0"/>
                </a:moveTo>
                <a:lnTo>
                  <a:pt x="2821146" y="0"/>
                </a:lnTo>
                <a:lnTo>
                  <a:pt x="1027448" y="6301295"/>
                </a:lnTo>
                <a:lnTo>
                  <a:pt x="0" y="6301295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20000"/>
                </a:schemeClr>
              </a:gs>
              <a:gs pos="100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C60CCE5-6FDA-4A16-BC15-30BD54E71AC9}"/>
              </a:ext>
            </a:extLst>
          </p:cNvPr>
          <p:cNvSpPr txBox="1"/>
          <p:nvPr userDrawn="1"/>
        </p:nvSpPr>
        <p:spPr>
          <a:xfrm>
            <a:off x="4135254" y="4705701"/>
            <a:ext cx="764796" cy="964052"/>
          </a:xfrm>
          <a:custGeom>
            <a:avLst/>
            <a:gdLst/>
            <a:ahLst/>
            <a:cxnLst/>
            <a:rect l="l" t="t" r="r" b="b"/>
            <a:pathLst>
              <a:path w="519261" h="654546">
                <a:moveTo>
                  <a:pt x="0" y="0"/>
                </a:moveTo>
                <a:lnTo>
                  <a:pt x="128587" y="0"/>
                </a:lnTo>
                <a:lnTo>
                  <a:pt x="396478" y="437108"/>
                </a:lnTo>
                <a:lnTo>
                  <a:pt x="396478" y="0"/>
                </a:lnTo>
                <a:lnTo>
                  <a:pt x="519261" y="0"/>
                </a:lnTo>
                <a:lnTo>
                  <a:pt x="519261" y="654546"/>
                </a:lnTo>
                <a:lnTo>
                  <a:pt x="386655" y="654546"/>
                </a:lnTo>
                <a:lnTo>
                  <a:pt x="122783" y="227707"/>
                </a:lnTo>
                <a:lnTo>
                  <a:pt x="122783" y="654546"/>
                </a:lnTo>
                <a:lnTo>
                  <a:pt x="0" y="6545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320D2300-939C-4826-8047-F23FB571C849}"/>
              </a:ext>
            </a:extLst>
          </p:cNvPr>
          <p:cNvSpPr txBox="1"/>
          <p:nvPr userDrawn="1"/>
        </p:nvSpPr>
        <p:spPr>
          <a:xfrm>
            <a:off x="5415252" y="4705700"/>
            <a:ext cx="766111" cy="964050"/>
          </a:xfrm>
          <a:custGeom>
            <a:avLst/>
            <a:gdLst/>
            <a:ahLst/>
            <a:cxnLst/>
            <a:rect l="l" t="t" r="r" b="b"/>
            <a:pathLst>
              <a:path w="520154" h="654546">
                <a:moveTo>
                  <a:pt x="0" y="0"/>
                </a:moveTo>
                <a:lnTo>
                  <a:pt x="520154" y="0"/>
                </a:lnTo>
                <a:lnTo>
                  <a:pt x="520154" y="110728"/>
                </a:lnTo>
                <a:lnTo>
                  <a:pt x="326380" y="110728"/>
                </a:lnTo>
                <a:lnTo>
                  <a:pt x="326380" y="654546"/>
                </a:lnTo>
                <a:lnTo>
                  <a:pt x="194220" y="654546"/>
                </a:lnTo>
                <a:lnTo>
                  <a:pt x="194220" y="110728"/>
                </a:lnTo>
                <a:lnTo>
                  <a:pt x="0" y="1107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BDA1B620-0DAD-445C-A765-840C36C62AEF}"/>
              </a:ext>
            </a:extLst>
          </p:cNvPr>
          <p:cNvSpPr txBox="1"/>
          <p:nvPr userDrawn="1"/>
        </p:nvSpPr>
        <p:spPr>
          <a:xfrm>
            <a:off x="7944998" y="4705701"/>
            <a:ext cx="764796" cy="964052"/>
          </a:xfrm>
          <a:custGeom>
            <a:avLst/>
            <a:gdLst/>
            <a:ahLst/>
            <a:cxnLst/>
            <a:rect l="l" t="t" r="r" b="b"/>
            <a:pathLst>
              <a:path w="519261" h="654546">
                <a:moveTo>
                  <a:pt x="0" y="0"/>
                </a:moveTo>
                <a:lnTo>
                  <a:pt x="128587" y="0"/>
                </a:lnTo>
                <a:lnTo>
                  <a:pt x="396478" y="437108"/>
                </a:lnTo>
                <a:lnTo>
                  <a:pt x="396478" y="0"/>
                </a:lnTo>
                <a:lnTo>
                  <a:pt x="519261" y="0"/>
                </a:lnTo>
                <a:lnTo>
                  <a:pt x="519261" y="654546"/>
                </a:lnTo>
                <a:lnTo>
                  <a:pt x="386655" y="654546"/>
                </a:lnTo>
                <a:lnTo>
                  <a:pt x="122783" y="227707"/>
                </a:lnTo>
                <a:lnTo>
                  <a:pt x="122783" y="654546"/>
                </a:lnTo>
                <a:lnTo>
                  <a:pt x="0" y="6545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103" name="标题 1">
            <a:extLst>
              <a:ext uri="{FF2B5EF4-FFF2-40B4-BE49-F238E27FC236}">
                <a16:creationId xmlns:a16="http://schemas.microsoft.com/office/drawing/2014/main" id="{ECEA980E-824B-40EF-B591-9C2C6F6E9734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010074" y="1104899"/>
            <a:ext cx="910112" cy="2499361"/>
          </a:xfrm>
        </p:spPr>
        <p:txBody>
          <a:bodyPr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defRPr lang="en-US" sz="7200" b="1" kern="1200" spc="6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目录</a:t>
            </a:r>
            <a:endParaRPr lang="en-US" dirty="0"/>
          </a:p>
        </p:txBody>
      </p: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DC63E7DF-ACD5-4860-8A7C-4F242262BC5D}"/>
              </a:ext>
            </a:extLst>
          </p:cNvPr>
          <p:cNvCxnSpPr>
            <a:cxnSpLocks/>
          </p:cNvCxnSpPr>
          <p:nvPr userDrawn="1"/>
        </p:nvCxnSpPr>
        <p:spPr>
          <a:xfrm>
            <a:off x="994780" y="1157083"/>
            <a:ext cx="940700" cy="0"/>
          </a:xfrm>
          <a:prstGeom prst="line">
            <a:avLst/>
          </a:prstGeom>
          <a:ln w="63500" cmpd="thickThin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DAC86189-DD9D-486C-8087-9529605B266A}"/>
              </a:ext>
            </a:extLst>
          </p:cNvPr>
          <p:cNvCxnSpPr>
            <a:cxnSpLocks/>
          </p:cNvCxnSpPr>
          <p:nvPr userDrawn="1"/>
        </p:nvCxnSpPr>
        <p:spPr>
          <a:xfrm>
            <a:off x="994780" y="3633583"/>
            <a:ext cx="940700" cy="0"/>
          </a:xfrm>
          <a:prstGeom prst="line">
            <a:avLst/>
          </a:prstGeom>
          <a:ln w="63500" cmpd="thinThick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" name="组合 204">
            <a:extLst>
              <a:ext uri="{FF2B5EF4-FFF2-40B4-BE49-F238E27FC236}">
                <a16:creationId xmlns:a16="http://schemas.microsoft.com/office/drawing/2014/main" id="{A2207DE5-1417-4D41-B13B-FA71732BBD14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206" name="Freeform 5">
              <a:extLst>
                <a:ext uri="{FF2B5EF4-FFF2-40B4-BE49-F238E27FC236}">
                  <a16:creationId xmlns:a16="http://schemas.microsoft.com/office/drawing/2014/main" id="{E9936EE7-09EE-47C3-9301-D002BAB167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">
              <a:extLst>
                <a:ext uri="{FF2B5EF4-FFF2-40B4-BE49-F238E27FC236}">
                  <a16:creationId xmlns:a16="http://schemas.microsoft.com/office/drawing/2014/main" id="{79145088-7A49-43FF-AC91-EA5D9C225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8">
              <a:extLst>
                <a:ext uri="{FF2B5EF4-FFF2-40B4-BE49-F238E27FC236}">
                  <a16:creationId xmlns:a16="http://schemas.microsoft.com/office/drawing/2014/main" id="{E02D64CC-1BAB-46DF-9A84-50DD5AE39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09" name="组合 208">
              <a:extLst>
                <a:ext uri="{FF2B5EF4-FFF2-40B4-BE49-F238E27FC236}">
                  <a16:creationId xmlns:a16="http://schemas.microsoft.com/office/drawing/2014/main" id="{68991FCA-3F21-4004-B198-E5152220D3E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250" name="Freeform 6">
                <a:extLst>
                  <a:ext uri="{FF2B5EF4-FFF2-40B4-BE49-F238E27FC236}">
                    <a16:creationId xmlns:a16="http://schemas.microsoft.com/office/drawing/2014/main" id="{7B1D3B90-73D3-49A4-A841-BA12841B50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10">
                <a:extLst>
                  <a:ext uri="{FF2B5EF4-FFF2-40B4-BE49-F238E27FC236}">
                    <a16:creationId xmlns:a16="http://schemas.microsoft.com/office/drawing/2014/main" id="{E0867C6B-E0CA-4BC1-80D4-2A3F639E0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13">
                <a:extLst>
                  <a:ext uri="{FF2B5EF4-FFF2-40B4-BE49-F238E27FC236}">
                    <a16:creationId xmlns:a16="http://schemas.microsoft.com/office/drawing/2014/main" id="{B814D541-9888-4A29-BB03-A0C8BFCEB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10" name="组合 209">
              <a:extLst>
                <a:ext uri="{FF2B5EF4-FFF2-40B4-BE49-F238E27FC236}">
                  <a16:creationId xmlns:a16="http://schemas.microsoft.com/office/drawing/2014/main" id="{4202491D-63C6-493A-8BB7-9E11F208968B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245" name="Freeform 9">
                <a:extLst>
                  <a:ext uri="{FF2B5EF4-FFF2-40B4-BE49-F238E27FC236}">
                    <a16:creationId xmlns:a16="http://schemas.microsoft.com/office/drawing/2014/main" id="{F18EA90F-3B72-446A-A85E-AF0382835D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11">
                <a:extLst>
                  <a:ext uri="{FF2B5EF4-FFF2-40B4-BE49-F238E27FC236}">
                    <a16:creationId xmlns:a16="http://schemas.microsoft.com/office/drawing/2014/main" id="{6853F98E-5EA4-4B4B-AD37-82355B32F1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12">
                <a:extLst>
                  <a:ext uri="{FF2B5EF4-FFF2-40B4-BE49-F238E27FC236}">
                    <a16:creationId xmlns:a16="http://schemas.microsoft.com/office/drawing/2014/main" id="{2DD376C1-9F6B-4EF5-B740-E21CB8FDD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14">
                <a:extLst>
                  <a:ext uri="{FF2B5EF4-FFF2-40B4-BE49-F238E27FC236}">
                    <a16:creationId xmlns:a16="http://schemas.microsoft.com/office/drawing/2014/main" id="{585DC808-46B5-4A2E-AAC6-B519F74C5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15">
                <a:extLst>
                  <a:ext uri="{FF2B5EF4-FFF2-40B4-BE49-F238E27FC236}">
                    <a16:creationId xmlns:a16="http://schemas.microsoft.com/office/drawing/2014/main" id="{DE0EC09E-B4F2-45C5-849C-785C30601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11" name="Freeform 16">
              <a:extLst>
                <a:ext uri="{FF2B5EF4-FFF2-40B4-BE49-F238E27FC236}">
                  <a16:creationId xmlns:a16="http://schemas.microsoft.com/office/drawing/2014/main" id="{46818453-AF58-4579-BF70-9B62949D42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7">
              <a:extLst>
                <a:ext uri="{FF2B5EF4-FFF2-40B4-BE49-F238E27FC236}">
                  <a16:creationId xmlns:a16="http://schemas.microsoft.com/office/drawing/2014/main" id="{546EFD77-E17C-42DA-92E2-F58E7958FD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Oval 18">
              <a:extLst>
                <a:ext uri="{FF2B5EF4-FFF2-40B4-BE49-F238E27FC236}">
                  <a16:creationId xmlns:a16="http://schemas.microsoft.com/office/drawing/2014/main" id="{77694CFB-75D9-47FB-A7BC-21BB7AF51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19">
              <a:extLst>
                <a:ext uri="{FF2B5EF4-FFF2-40B4-BE49-F238E27FC236}">
                  <a16:creationId xmlns:a16="http://schemas.microsoft.com/office/drawing/2014/main" id="{02FF9F65-C8F1-4837-9126-59566C380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20">
              <a:extLst>
                <a:ext uri="{FF2B5EF4-FFF2-40B4-BE49-F238E27FC236}">
                  <a16:creationId xmlns:a16="http://schemas.microsoft.com/office/drawing/2014/main" id="{AE9214D0-8721-4C5F-8626-D1E24BD73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21">
              <a:extLst>
                <a:ext uri="{FF2B5EF4-FFF2-40B4-BE49-F238E27FC236}">
                  <a16:creationId xmlns:a16="http://schemas.microsoft.com/office/drawing/2014/main" id="{5B4259DC-D6FF-4ACB-B2FA-B9F0C965C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22">
              <a:extLst>
                <a:ext uri="{FF2B5EF4-FFF2-40B4-BE49-F238E27FC236}">
                  <a16:creationId xmlns:a16="http://schemas.microsoft.com/office/drawing/2014/main" id="{94EB2B53-4DBA-48CA-B475-4F652C7206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23">
              <a:extLst>
                <a:ext uri="{FF2B5EF4-FFF2-40B4-BE49-F238E27FC236}">
                  <a16:creationId xmlns:a16="http://schemas.microsoft.com/office/drawing/2014/main" id="{A7C49B35-81C1-4A01-91A5-A3D17C10A7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24">
              <a:extLst>
                <a:ext uri="{FF2B5EF4-FFF2-40B4-BE49-F238E27FC236}">
                  <a16:creationId xmlns:a16="http://schemas.microsoft.com/office/drawing/2014/main" id="{6C9DF5FE-057A-40AC-999E-9194CA5AE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25">
              <a:extLst>
                <a:ext uri="{FF2B5EF4-FFF2-40B4-BE49-F238E27FC236}">
                  <a16:creationId xmlns:a16="http://schemas.microsoft.com/office/drawing/2014/main" id="{1F3D284F-4113-4C40-9F6A-4E97C002D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26">
              <a:extLst>
                <a:ext uri="{FF2B5EF4-FFF2-40B4-BE49-F238E27FC236}">
                  <a16:creationId xmlns:a16="http://schemas.microsoft.com/office/drawing/2014/main" id="{F561DC71-E821-49C9-A9EB-AA81B427E4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27">
              <a:extLst>
                <a:ext uri="{FF2B5EF4-FFF2-40B4-BE49-F238E27FC236}">
                  <a16:creationId xmlns:a16="http://schemas.microsoft.com/office/drawing/2014/main" id="{8483D2AA-A31B-4569-8D8F-EA9F5FC1E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28">
              <a:extLst>
                <a:ext uri="{FF2B5EF4-FFF2-40B4-BE49-F238E27FC236}">
                  <a16:creationId xmlns:a16="http://schemas.microsoft.com/office/drawing/2014/main" id="{5175303F-FC82-47E5-BF9D-5569C16A5C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29">
              <a:extLst>
                <a:ext uri="{FF2B5EF4-FFF2-40B4-BE49-F238E27FC236}">
                  <a16:creationId xmlns:a16="http://schemas.microsoft.com/office/drawing/2014/main" id="{5A812563-68CC-4BD1-A69D-8B8CF839D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30">
              <a:extLst>
                <a:ext uri="{FF2B5EF4-FFF2-40B4-BE49-F238E27FC236}">
                  <a16:creationId xmlns:a16="http://schemas.microsoft.com/office/drawing/2014/main" id="{59977FD1-ADFD-4F8F-945E-B774DDA2E9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33B20096-EB74-4844-8C34-25BAE3578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32">
              <a:extLst>
                <a:ext uri="{FF2B5EF4-FFF2-40B4-BE49-F238E27FC236}">
                  <a16:creationId xmlns:a16="http://schemas.microsoft.com/office/drawing/2014/main" id="{9E0EB4FC-9B25-4258-9F1D-7A75B2F84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33">
              <a:extLst>
                <a:ext uri="{FF2B5EF4-FFF2-40B4-BE49-F238E27FC236}">
                  <a16:creationId xmlns:a16="http://schemas.microsoft.com/office/drawing/2014/main" id="{6221C405-EA96-4460-BD73-5DAC162E1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34">
              <a:extLst>
                <a:ext uri="{FF2B5EF4-FFF2-40B4-BE49-F238E27FC236}">
                  <a16:creationId xmlns:a16="http://schemas.microsoft.com/office/drawing/2014/main" id="{59506D10-6CDC-4DCF-B58C-EF20D6785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35">
              <a:extLst>
                <a:ext uri="{FF2B5EF4-FFF2-40B4-BE49-F238E27FC236}">
                  <a16:creationId xmlns:a16="http://schemas.microsoft.com/office/drawing/2014/main" id="{770FFCAF-A7FC-48DB-9F98-3F089E8FD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36">
              <a:extLst>
                <a:ext uri="{FF2B5EF4-FFF2-40B4-BE49-F238E27FC236}">
                  <a16:creationId xmlns:a16="http://schemas.microsoft.com/office/drawing/2014/main" id="{BAD6111E-5CB0-4AF1-8314-903CDC189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37">
              <a:extLst>
                <a:ext uri="{FF2B5EF4-FFF2-40B4-BE49-F238E27FC236}">
                  <a16:creationId xmlns:a16="http://schemas.microsoft.com/office/drawing/2014/main" id="{9E3DBDAB-523C-42DF-9CB7-05D27C3ED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38">
              <a:extLst>
                <a:ext uri="{FF2B5EF4-FFF2-40B4-BE49-F238E27FC236}">
                  <a16:creationId xmlns:a16="http://schemas.microsoft.com/office/drawing/2014/main" id="{43BD8532-1DD7-4C56-9C69-68B622984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39">
              <a:extLst>
                <a:ext uri="{FF2B5EF4-FFF2-40B4-BE49-F238E27FC236}">
                  <a16:creationId xmlns:a16="http://schemas.microsoft.com/office/drawing/2014/main" id="{DC8E876A-FF68-40C0-86B1-3C3D6FE377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40">
              <a:extLst>
                <a:ext uri="{FF2B5EF4-FFF2-40B4-BE49-F238E27FC236}">
                  <a16:creationId xmlns:a16="http://schemas.microsoft.com/office/drawing/2014/main" id="{3473972D-C00A-4984-BAB6-D848881DA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41">
              <a:extLst>
                <a:ext uri="{FF2B5EF4-FFF2-40B4-BE49-F238E27FC236}">
                  <a16:creationId xmlns:a16="http://schemas.microsoft.com/office/drawing/2014/main" id="{FF8931A7-DD0E-4276-A5FE-F9F0B944C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42">
              <a:extLst>
                <a:ext uri="{FF2B5EF4-FFF2-40B4-BE49-F238E27FC236}">
                  <a16:creationId xmlns:a16="http://schemas.microsoft.com/office/drawing/2014/main" id="{A57BDEF6-2369-4693-94AD-74E2F97BC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43">
              <a:extLst>
                <a:ext uri="{FF2B5EF4-FFF2-40B4-BE49-F238E27FC236}">
                  <a16:creationId xmlns:a16="http://schemas.microsoft.com/office/drawing/2014/main" id="{A00D3CCB-1E01-4805-96BE-7F6F84CF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44">
              <a:extLst>
                <a:ext uri="{FF2B5EF4-FFF2-40B4-BE49-F238E27FC236}">
                  <a16:creationId xmlns:a16="http://schemas.microsoft.com/office/drawing/2014/main" id="{4D80F5C1-F2A9-4DF2-9C6E-DC33121A43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45">
              <a:extLst>
                <a:ext uri="{FF2B5EF4-FFF2-40B4-BE49-F238E27FC236}">
                  <a16:creationId xmlns:a16="http://schemas.microsoft.com/office/drawing/2014/main" id="{A57C2EB5-971E-4B21-8E0E-BA1ADFC14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46">
              <a:extLst>
                <a:ext uri="{FF2B5EF4-FFF2-40B4-BE49-F238E27FC236}">
                  <a16:creationId xmlns:a16="http://schemas.microsoft.com/office/drawing/2014/main" id="{4E0DC4E7-8C18-45A6-8771-ECA7E7D46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47">
              <a:extLst>
                <a:ext uri="{FF2B5EF4-FFF2-40B4-BE49-F238E27FC236}">
                  <a16:creationId xmlns:a16="http://schemas.microsoft.com/office/drawing/2014/main" id="{62D3FD34-A354-4AB5-A8EE-5017948E4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48">
              <a:extLst>
                <a:ext uri="{FF2B5EF4-FFF2-40B4-BE49-F238E27FC236}">
                  <a16:creationId xmlns:a16="http://schemas.microsoft.com/office/drawing/2014/main" id="{426B0B1C-BEAF-48E5-B13F-32DF76DB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49">
              <a:extLst>
                <a:ext uri="{FF2B5EF4-FFF2-40B4-BE49-F238E27FC236}">
                  <a16:creationId xmlns:a16="http://schemas.microsoft.com/office/drawing/2014/main" id="{589A7317-FFFF-4A05-8373-D4DA5432F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8" name="矩形: 对角圆角 67">
            <a:extLst>
              <a:ext uri="{FF2B5EF4-FFF2-40B4-BE49-F238E27FC236}">
                <a16:creationId xmlns:a16="http://schemas.microsoft.com/office/drawing/2014/main" id="{D818CD7B-A03F-427B-91C4-E555686726D7}"/>
              </a:ext>
            </a:extLst>
          </p:cNvPr>
          <p:cNvSpPr/>
          <p:nvPr userDrawn="1"/>
        </p:nvSpPr>
        <p:spPr>
          <a:xfrm>
            <a:off x="3447342" y="1855181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9" name="文本占位符 6">
            <a:extLst>
              <a:ext uri="{FF2B5EF4-FFF2-40B4-BE49-F238E27FC236}">
                <a16:creationId xmlns:a16="http://schemas.microsoft.com/office/drawing/2014/main" id="{42FCF6C0-9743-44F5-BCFB-2FFB95BABD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50413" y="1462751"/>
            <a:ext cx="2814851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0" name="文本占位符 6">
            <a:extLst>
              <a:ext uri="{FF2B5EF4-FFF2-40B4-BE49-F238E27FC236}">
                <a16:creationId xmlns:a16="http://schemas.microsoft.com/office/drawing/2014/main" id="{420457FD-CF28-4877-B7B7-1D9907A8AE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50413" y="1826433"/>
            <a:ext cx="2814851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1" name="文本占位符 6">
            <a:extLst>
              <a:ext uri="{FF2B5EF4-FFF2-40B4-BE49-F238E27FC236}">
                <a16:creationId xmlns:a16="http://schemas.microsoft.com/office/drawing/2014/main" id="{6074BC7F-B4B1-4B79-8C9A-D45E20F6A2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13241" y="1335505"/>
            <a:ext cx="748923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1</a:t>
            </a:r>
            <a:endParaRPr lang="en-US" dirty="0"/>
          </a:p>
        </p:txBody>
      </p:sp>
      <p:cxnSp>
        <p:nvCxnSpPr>
          <p:cNvPr id="72" name="直接连接符 71">
            <a:extLst>
              <a:ext uri="{FF2B5EF4-FFF2-40B4-BE49-F238E27FC236}">
                <a16:creationId xmlns:a16="http://schemas.microsoft.com/office/drawing/2014/main" id="{28DAFC62-DC41-4D3D-AAA0-B20FA5163DB9}"/>
              </a:ext>
            </a:extLst>
          </p:cNvPr>
          <p:cNvCxnSpPr>
            <a:cxnSpLocks/>
          </p:cNvCxnSpPr>
          <p:nvPr userDrawn="1"/>
        </p:nvCxnSpPr>
        <p:spPr>
          <a:xfrm>
            <a:off x="4250413" y="2037299"/>
            <a:ext cx="281485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矩形: 对角圆角 72">
            <a:extLst>
              <a:ext uri="{FF2B5EF4-FFF2-40B4-BE49-F238E27FC236}">
                <a16:creationId xmlns:a16="http://schemas.microsoft.com/office/drawing/2014/main" id="{F653E5A7-701C-4CBD-B095-01932DCF54D6}"/>
              </a:ext>
            </a:extLst>
          </p:cNvPr>
          <p:cNvSpPr/>
          <p:nvPr userDrawn="1"/>
        </p:nvSpPr>
        <p:spPr>
          <a:xfrm>
            <a:off x="3447342" y="3197844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4" name="文本占位符 6">
            <a:extLst>
              <a:ext uri="{FF2B5EF4-FFF2-40B4-BE49-F238E27FC236}">
                <a16:creationId xmlns:a16="http://schemas.microsoft.com/office/drawing/2014/main" id="{0D94F75F-D9EF-4869-8935-49FFDC43F7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50413" y="2805414"/>
            <a:ext cx="2814851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5" name="文本占位符 6">
            <a:extLst>
              <a:ext uri="{FF2B5EF4-FFF2-40B4-BE49-F238E27FC236}">
                <a16:creationId xmlns:a16="http://schemas.microsoft.com/office/drawing/2014/main" id="{2EE97D98-0361-4A68-8938-972BC1F6F5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50413" y="3169096"/>
            <a:ext cx="2814851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6" name="文本占位符 6">
            <a:extLst>
              <a:ext uri="{FF2B5EF4-FFF2-40B4-BE49-F238E27FC236}">
                <a16:creationId xmlns:a16="http://schemas.microsoft.com/office/drawing/2014/main" id="{F7A7CC6F-2B08-4288-93DC-27BB54020E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75570" y="2678168"/>
            <a:ext cx="824265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2</a:t>
            </a:r>
            <a:endParaRPr lang="en-US" dirty="0"/>
          </a:p>
        </p:txBody>
      </p:sp>
      <p:cxnSp>
        <p:nvCxnSpPr>
          <p:cNvPr id="77" name="直接连接符 76">
            <a:extLst>
              <a:ext uri="{FF2B5EF4-FFF2-40B4-BE49-F238E27FC236}">
                <a16:creationId xmlns:a16="http://schemas.microsoft.com/office/drawing/2014/main" id="{BB231F56-6C83-4107-84EA-17FF5A2AAEE6}"/>
              </a:ext>
            </a:extLst>
          </p:cNvPr>
          <p:cNvCxnSpPr>
            <a:cxnSpLocks/>
          </p:cNvCxnSpPr>
          <p:nvPr userDrawn="1"/>
        </p:nvCxnSpPr>
        <p:spPr>
          <a:xfrm>
            <a:off x="4250413" y="3379962"/>
            <a:ext cx="281485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矩形: 对角圆角 77">
            <a:extLst>
              <a:ext uri="{FF2B5EF4-FFF2-40B4-BE49-F238E27FC236}">
                <a16:creationId xmlns:a16="http://schemas.microsoft.com/office/drawing/2014/main" id="{D4719B17-9065-482A-A29D-C7B54C9E8C78}"/>
              </a:ext>
            </a:extLst>
          </p:cNvPr>
          <p:cNvSpPr/>
          <p:nvPr userDrawn="1"/>
        </p:nvSpPr>
        <p:spPr>
          <a:xfrm>
            <a:off x="8094653" y="1855181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9" name="文本占位符 6">
            <a:extLst>
              <a:ext uri="{FF2B5EF4-FFF2-40B4-BE49-F238E27FC236}">
                <a16:creationId xmlns:a16="http://schemas.microsoft.com/office/drawing/2014/main" id="{4FBCC352-8EB3-4AC3-A2E2-D75746F089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897724" y="1462751"/>
            <a:ext cx="2814851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0" name="文本占位符 6">
            <a:extLst>
              <a:ext uri="{FF2B5EF4-FFF2-40B4-BE49-F238E27FC236}">
                <a16:creationId xmlns:a16="http://schemas.microsoft.com/office/drawing/2014/main" id="{0BADFD43-E017-47CA-80D1-8408F4E5A0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97724" y="1826433"/>
            <a:ext cx="2814851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1" name="文本占位符 6">
            <a:extLst>
              <a:ext uri="{FF2B5EF4-FFF2-40B4-BE49-F238E27FC236}">
                <a16:creationId xmlns:a16="http://schemas.microsoft.com/office/drawing/2014/main" id="{597024F2-57F3-4CB7-8ADB-E8BD1101A7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14065" y="1335505"/>
            <a:ext cx="841897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3</a:t>
            </a:r>
            <a:endParaRPr lang="en-US" dirty="0"/>
          </a:p>
        </p:txBody>
      </p:sp>
      <p:cxnSp>
        <p:nvCxnSpPr>
          <p:cNvPr id="82" name="直接连接符 81">
            <a:extLst>
              <a:ext uri="{FF2B5EF4-FFF2-40B4-BE49-F238E27FC236}">
                <a16:creationId xmlns:a16="http://schemas.microsoft.com/office/drawing/2014/main" id="{87E0ABC5-A730-4BB8-B33E-7E1509896B91}"/>
              </a:ext>
            </a:extLst>
          </p:cNvPr>
          <p:cNvCxnSpPr>
            <a:cxnSpLocks/>
          </p:cNvCxnSpPr>
          <p:nvPr userDrawn="1"/>
        </p:nvCxnSpPr>
        <p:spPr>
          <a:xfrm>
            <a:off x="8897724" y="2037299"/>
            <a:ext cx="281485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矩形: 对角圆角 82">
            <a:extLst>
              <a:ext uri="{FF2B5EF4-FFF2-40B4-BE49-F238E27FC236}">
                <a16:creationId xmlns:a16="http://schemas.microsoft.com/office/drawing/2014/main" id="{EA41C8BB-C432-41FE-8470-C043B1186364}"/>
              </a:ext>
            </a:extLst>
          </p:cNvPr>
          <p:cNvSpPr/>
          <p:nvPr userDrawn="1"/>
        </p:nvSpPr>
        <p:spPr>
          <a:xfrm>
            <a:off x="8094653" y="3197844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84" name="文本占位符 6">
            <a:extLst>
              <a:ext uri="{FF2B5EF4-FFF2-40B4-BE49-F238E27FC236}">
                <a16:creationId xmlns:a16="http://schemas.microsoft.com/office/drawing/2014/main" id="{6913A45E-7B2F-4199-B5FD-FD6CA072995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897724" y="2805414"/>
            <a:ext cx="2814851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5" name="文本占位符 6">
            <a:extLst>
              <a:ext uri="{FF2B5EF4-FFF2-40B4-BE49-F238E27FC236}">
                <a16:creationId xmlns:a16="http://schemas.microsoft.com/office/drawing/2014/main" id="{B330E57A-B675-440A-949D-D5B02203F1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897724" y="3169096"/>
            <a:ext cx="2814851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6" name="文本占位符 6">
            <a:extLst>
              <a:ext uri="{FF2B5EF4-FFF2-40B4-BE49-F238E27FC236}">
                <a16:creationId xmlns:a16="http://schemas.microsoft.com/office/drawing/2014/main" id="{C8E808A2-E671-46CC-AC72-B4E7F686A5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23683" y="2678168"/>
            <a:ext cx="822661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4</a:t>
            </a:r>
            <a:endParaRPr lang="en-US" dirty="0"/>
          </a:p>
        </p:txBody>
      </p:sp>
      <p:cxnSp>
        <p:nvCxnSpPr>
          <p:cNvPr id="87" name="直接连接符 86">
            <a:extLst>
              <a:ext uri="{FF2B5EF4-FFF2-40B4-BE49-F238E27FC236}">
                <a16:creationId xmlns:a16="http://schemas.microsoft.com/office/drawing/2014/main" id="{B47752C9-1ACC-40EB-B50D-69B8EEA048A4}"/>
              </a:ext>
            </a:extLst>
          </p:cNvPr>
          <p:cNvCxnSpPr>
            <a:cxnSpLocks/>
          </p:cNvCxnSpPr>
          <p:nvPr userDrawn="1"/>
        </p:nvCxnSpPr>
        <p:spPr>
          <a:xfrm>
            <a:off x="8897724" y="3379962"/>
            <a:ext cx="281485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5175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4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B8007763-1399-4621-A9B2-1CA2C72293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5677395B-9B12-410E-A518-815127610CA6}"/>
              </a:ext>
            </a:extLst>
          </p:cNvPr>
          <p:cNvSpPr/>
          <p:nvPr userDrawn="1"/>
        </p:nvSpPr>
        <p:spPr>
          <a:xfrm>
            <a:off x="-381" y="0"/>
            <a:ext cx="12192000" cy="6858000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20D74CD9-5B3A-4EAE-92A9-0F14DBF2BD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81908"/>
            <a:ext cx="12192000" cy="5076092"/>
          </a:xfrm>
          <a:prstGeom prst="rect">
            <a:avLst/>
          </a:prstGeom>
        </p:spPr>
      </p:pic>
      <p:sp>
        <p:nvSpPr>
          <p:cNvPr id="49" name="矩形 48">
            <a:extLst>
              <a:ext uri="{FF2B5EF4-FFF2-40B4-BE49-F238E27FC236}">
                <a16:creationId xmlns:a16="http://schemas.microsoft.com/office/drawing/2014/main" id="{45CF7FB2-0F51-4F7E-BC73-AF11874C3CD3}"/>
              </a:ext>
            </a:extLst>
          </p:cNvPr>
          <p:cNvSpPr/>
          <p:nvPr userDrawn="1"/>
        </p:nvSpPr>
        <p:spPr>
          <a:xfrm rot="5400000">
            <a:off x="8720555" y="3386560"/>
            <a:ext cx="6858002" cy="8488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1" name="组合 100">
            <a:extLst>
              <a:ext uri="{FF2B5EF4-FFF2-40B4-BE49-F238E27FC236}">
                <a16:creationId xmlns:a16="http://schemas.microsoft.com/office/drawing/2014/main" id="{BFF2BF23-425C-4D93-9CC5-24327982A267}"/>
              </a:ext>
            </a:extLst>
          </p:cNvPr>
          <p:cNvGrpSpPr/>
          <p:nvPr userDrawn="1"/>
        </p:nvGrpSpPr>
        <p:grpSpPr>
          <a:xfrm>
            <a:off x="8431598" y="0"/>
            <a:ext cx="3760402" cy="4528788"/>
            <a:chOff x="8431598" y="0"/>
            <a:chExt cx="3760402" cy="4528788"/>
          </a:xfrm>
        </p:grpSpPr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2FC53120-2336-470A-AF10-67EF591F5750}"/>
                </a:ext>
              </a:extLst>
            </p:cNvPr>
            <p:cNvSpPr/>
            <p:nvPr/>
          </p:nvSpPr>
          <p:spPr>
            <a:xfrm>
              <a:off x="10434932" y="0"/>
              <a:ext cx="1757068" cy="4528788"/>
            </a:xfrm>
            <a:custGeom>
              <a:avLst/>
              <a:gdLst>
                <a:gd name="connsiteX0" fmla="*/ 1273576 w 1757068"/>
                <a:gd name="connsiteY0" fmla="*/ 0 h 4528788"/>
                <a:gd name="connsiteX1" fmla="*/ 1757068 w 1757068"/>
                <a:gd name="connsiteY1" fmla="*/ 0 h 4528788"/>
                <a:gd name="connsiteX2" fmla="*/ 1757068 w 1757068"/>
                <a:gd name="connsiteY2" fmla="*/ 980624 h 4528788"/>
                <a:gd name="connsiteX3" fmla="*/ 759261 w 1757068"/>
                <a:gd name="connsiteY3" fmla="*/ 4528788 h 4528788"/>
                <a:gd name="connsiteX4" fmla="*/ 0 w 1757068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7068" h="4528788">
                  <a:moveTo>
                    <a:pt x="1273576" y="0"/>
                  </a:moveTo>
                  <a:lnTo>
                    <a:pt x="1757068" y="0"/>
                  </a:lnTo>
                  <a:lnTo>
                    <a:pt x="1757068" y="980624"/>
                  </a:lnTo>
                  <a:lnTo>
                    <a:pt x="759261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D1F07AE1-4E8D-413D-BEAB-07394A2288A4}"/>
                </a:ext>
              </a:extLst>
            </p:cNvPr>
            <p:cNvSpPr/>
            <p:nvPr/>
          </p:nvSpPr>
          <p:spPr>
            <a:xfrm>
              <a:off x="8431598" y="0"/>
              <a:ext cx="3760402" cy="4528788"/>
            </a:xfrm>
            <a:custGeom>
              <a:avLst/>
              <a:gdLst>
                <a:gd name="connsiteX0" fmla="*/ 1289144 w 3760402"/>
                <a:gd name="connsiteY0" fmla="*/ 0 h 4528788"/>
                <a:gd name="connsiteX1" fmla="*/ 3760402 w 3760402"/>
                <a:gd name="connsiteY1" fmla="*/ 0 h 4528788"/>
                <a:gd name="connsiteX2" fmla="*/ 3760402 w 3760402"/>
                <a:gd name="connsiteY2" fmla="*/ 247103 h 4528788"/>
                <a:gd name="connsiteX3" fmla="*/ 2541597 w 3760402"/>
                <a:gd name="connsiteY3" fmla="*/ 4528788 h 4528788"/>
                <a:gd name="connsiteX4" fmla="*/ 0 w 3760402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0402" h="4528788">
                  <a:moveTo>
                    <a:pt x="1289144" y="0"/>
                  </a:moveTo>
                  <a:lnTo>
                    <a:pt x="3760402" y="0"/>
                  </a:lnTo>
                  <a:lnTo>
                    <a:pt x="3760402" y="247103"/>
                  </a:lnTo>
                  <a:lnTo>
                    <a:pt x="2541597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D4F532B2-069F-45EB-8891-3221127175C6}"/>
                </a:ext>
              </a:extLst>
            </p:cNvPr>
            <p:cNvSpPr/>
            <p:nvPr/>
          </p:nvSpPr>
          <p:spPr>
            <a:xfrm>
              <a:off x="8728052" y="0"/>
              <a:ext cx="1403628" cy="2897528"/>
            </a:xfrm>
            <a:custGeom>
              <a:avLst/>
              <a:gdLst>
                <a:gd name="connsiteX0" fmla="*/ 814836 w 1403628"/>
                <a:gd name="connsiteY0" fmla="*/ 0 h 2897528"/>
                <a:gd name="connsiteX1" fmla="*/ 1403628 w 1403628"/>
                <a:gd name="connsiteY1" fmla="*/ 0 h 2897528"/>
                <a:gd name="connsiteX2" fmla="*/ 588792 w 1403628"/>
                <a:gd name="connsiteY2" fmla="*/ 2897528 h 2897528"/>
                <a:gd name="connsiteX3" fmla="*/ 0 w 1403628"/>
                <a:gd name="connsiteY3" fmla="*/ 2897528 h 2897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628" h="2897528">
                  <a:moveTo>
                    <a:pt x="814836" y="0"/>
                  </a:moveTo>
                  <a:lnTo>
                    <a:pt x="1403628" y="0"/>
                  </a:lnTo>
                  <a:lnTo>
                    <a:pt x="588792" y="2897528"/>
                  </a:lnTo>
                  <a:lnTo>
                    <a:pt x="0" y="289752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99" name="标题 1">
            <a:extLst>
              <a:ext uri="{FF2B5EF4-FFF2-40B4-BE49-F238E27FC236}">
                <a16:creationId xmlns:a16="http://schemas.microsoft.com/office/drawing/2014/main" id="{1D16D0DD-6BD2-46CD-84F5-7A992AF036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802463" y="1041337"/>
            <a:ext cx="910112" cy="2499361"/>
          </a:xfrm>
        </p:spPr>
        <p:txBody>
          <a:bodyPr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defRPr lang="en-US" sz="7200" b="1" kern="1200" spc="600" dirty="0">
                <a:gradFill flip="none" rotWithShape="1">
                  <a:gsLst>
                    <a:gs pos="100000">
                      <a:schemeClr val="accent1">
                        <a:lumMod val="75000"/>
                      </a:schemeClr>
                    </a:gs>
                    <a:gs pos="0">
                      <a:schemeClr val="accent1"/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目录</a:t>
            </a:r>
            <a:endParaRPr lang="en-US" dirty="0"/>
          </a:p>
        </p:txBody>
      </p: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F50E6273-C956-48B0-AAD8-03C967EC0209}"/>
              </a:ext>
            </a:extLst>
          </p:cNvPr>
          <p:cNvCxnSpPr>
            <a:cxnSpLocks/>
          </p:cNvCxnSpPr>
          <p:nvPr/>
        </p:nvCxnSpPr>
        <p:spPr>
          <a:xfrm>
            <a:off x="10787169" y="1093521"/>
            <a:ext cx="940700" cy="0"/>
          </a:xfrm>
          <a:prstGeom prst="line">
            <a:avLst/>
          </a:prstGeom>
          <a:ln w="63500" cmpd="thickThin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118CD212-AACD-4CBD-8EC4-C7995CE051D7}"/>
              </a:ext>
            </a:extLst>
          </p:cNvPr>
          <p:cNvCxnSpPr>
            <a:cxnSpLocks/>
          </p:cNvCxnSpPr>
          <p:nvPr/>
        </p:nvCxnSpPr>
        <p:spPr>
          <a:xfrm>
            <a:off x="10787169" y="3570021"/>
            <a:ext cx="940700" cy="0"/>
          </a:xfrm>
          <a:prstGeom prst="line">
            <a:avLst/>
          </a:prstGeom>
          <a:ln w="63500" cmpd="thinThick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矩形 97">
            <a:extLst>
              <a:ext uri="{FF2B5EF4-FFF2-40B4-BE49-F238E27FC236}">
                <a16:creationId xmlns:a16="http://schemas.microsoft.com/office/drawing/2014/main" id="{0FDF2ED6-8F4C-4AD7-913F-30769D4CC342}"/>
              </a:ext>
            </a:extLst>
          </p:cNvPr>
          <p:cNvSpPr/>
          <p:nvPr userDrawn="1"/>
        </p:nvSpPr>
        <p:spPr>
          <a:xfrm rot="5400000">
            <a:off x="10885215" y="2263239"/>
            <a:ext cx="2528684" cy="8488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2" name="组合 151">
            <a:extLst>
              <a:ext uri="{FF2B5EF4-FFF2-40B4-BE49-F238E27FC236}">
                <a16:creationId xmlns:a16="http://schemas.microsoft.com/office/drawing/2014/main" id="{556F6A2E-5F79-4B5B-93E4-56A69F68080B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153" name="Freeform 5">
              <a:extLst>
                <a:ext uri="{FF2B5EF4-FFF2-40B4-BE49-F238E27FC236}">
                  <a16:creationId xmlns:a16="http://schemas.microsoft.com/office/drawing/2014/main" id="{68751F16-EA38-4FAB-AD03-C55041361A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7">
              <a:extLst>
                <a:ext uri="{FF2B5EF4-FFF2-40B4-BE49-F238E27FC236}">
                  <a16:creationId xmlns:a16="http://schemas.microsoft.com/office/drawing/2014/main" id="{3C9915C0-7C84-46FD-9F44-56B13989A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8">
              <a:extLst>
                <a:ext uri="{FF2B5EF4-FFF2-40B4-BE49-F238E27FC236}">
                  <a16:creationId xmlns:a16="http://schemas.microsoft.com/office/drawing/2014/main" id="{2DD7F170-490F-4A0A-A5CB-2F1EC1B16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6" name="组合 155">
              <a:extLst>
                <a:ext uri="{FF2B5EF4-FFF2-40B4-BE49-F238E27FC236}">
                  <a16:creationId xmlns:a16="http://schemas.microsoft.com/office/drawing/2014/main" id="{0B3A2441-CE57-48FF-BD1E-DF3DB6012DA9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97" name="Freeform 6">
                <a:extLst>
                  <a:ext uri="{FF2B5EF4-FFF2-40B4-BE49-F238E27FC236}">
                    <a16:creationId xmlns:a16="http://schemas.microsoft.com/office/drawing/2014/main" id="{69D6732E-A1EE-461A-8E24-DF405B4B9E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0">
                <a:extLst>
                  <a:ext uri="{FF2B5EF4-FFF2-40B4-BE49-F238E27FC236}">
                    <a16:creationId xmlns:a16="http://schemas.microsoft.com/office/drawing/2014/main" id="{E765A850-56EE-40EC-9319-1917376B49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13">
                <a:extLst>
                  <a:ext uri="{FF2B5EF4-FFF2-40B4-BE49-F238E27FC236}">
                    <a16:creationId xmlns:a16="http://schemas.microsoft.com/office/drawing/2014/main" id="{EAA228E5-600B-4E1B-98EC-BF7849200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57" name="组合 156">
              <a:extLst>
                <a:ext uri="{FF2B5EF4-FFF2-40B4-BE49-F238E27FC236}">
                  <a16:creationId xmlns:a16="http://schemas.microsoft.com/office/drawing/2014/main" id="{189C0CF7-8457-43FA-9610-959A2DA473F5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92" name="Freeform 9">
                <a:extLst>
                  <a:ext uri="{FF2B5EF4-FFF2-40B4-BE49-F238E27FC236}">
                    <a16:creationId xmlns:a16="http://schemas.microsoft.com/office/drawing/2014/main" id="{2A5C2264-009A-4F99-9BAE-48831FC40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11">
                <a:extLst>
                  <a:ext uri="{FF2B5EF4-FFF2-40B4-BE49-F238E27FC236}">
                    <a16:creationId xmlns:a16="http://schemas.microsoft.com/office/drawing/2014/main" id="{25E2918E-4470-496B-B661-2D227FF173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12">
                <a:extLst>
                  <a:ext uri="{FF2B5EF4-FFF2-40B4-BE49-F238E27FC236}">
                    <a16:creationId xmlns:a16="http://schemas.microsoft.com/office/drawing/2014/main" id="{3A8670DF-2F3A-4642-9107-332E2EDB5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14">
                <a:extLst>
                  <a:ext uri="{FF2B5EF4-FFF2-40B4-BE49-F238E27FC236}">
                    <a16:creationId xmlns:a16="http://schemas.microsoft.com/office/drawing/2014/main" id="{B4ED2C19-5825-4CB4-9D2E-AED355FC9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15">
                <a:extLst>
                  <a:ext uri="{FF2B5EF4-FFF2-40B4-BE49-F238E27FC236}">
                    <a16:creationId xmlns:a16="http://schemas.microsoft.com/office/drawing/2014/main" id="{D1A6C857-4D0E-4418-88FB-8188C5304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8" name="Freeform 16">
              <a:extLst>
                <a:ext uri="{FF2B5EF4-FFF2-40B4-BE49-F238E27FC236}">
                  <a16:creationId xmlns:a16="http://schemas.microsoft.com/office/drawing/2014/main" id="{95B2FFC8-A5DB-48C8-836A-91AD34CD07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7">
              <a:extLst>
                <a:ext uri="{FF2B5EF4-FFF2-40B4-BE49-F238E27FC236}">
                  <a16:creationId xmlns:a16="http://schemas.microsoft.com/office/drawing/2014/main" id="{4DA649DB-A243-40B0-9EE1-C07AE29F9C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Oval 18">
              <a:extLst>
                <a:ext uri="{FF2B5EF4-FFF2-40B4-BE49-F238E27FC236}">
                  <a16:creationId xmlns:a16="http://schemas.microsoft.com/office/drawing/2014/main" id="{2636198C-2BCD-45F6-A855-1B932312E7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9">
              <a:extLst>
                <a:ext uri="{FF2B5EF4-FFF2-40B4-BE49-F238E27FC236}">
                  <a16:creationId xmlns:a16="http://schemas.microsoft.com/office/drawing/2014/main" id="{EE8EF157-6385-42F5-9F9F-653FF5CFC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0">
              <a:extLst>
                <a:ext uri="{FF2B5EF4-FFF2-40B4-BE49-F238E27FC236}">
                  <a16:creationId xmlns:a16="http://schemas.microsoft.com/office/drawing/2014/main" id="{03F90104-B738-4A27-B59C-BB34CA42E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1">
              <a:extLst>
                <a:ext uri="{FF2B5EF4-FFF2-40B4-BE49-F238E27FC236}">
                  <a16:creationId xmlns:a16="http://schemas.microsoft.com/office/drawing/2014/main" id="{4799A3A4-2415-43C0-BA8C-817958773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2">
              <a:extLst>
                <a:ext uri="{FF2B5EF4-FFF2-40B4-BE49-F238E27FC236}">
                  <a16:creationId xmlns:a16="http://schemas.microsoft.com/office/drawing/2014/main" id="{7466F1DC-1403-49A5-A6E1-5D680B3D53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3">
              <a:extLst>
                <a:ext uri="{FF2B5EF4-FFF2-40B4-BE49-F238E27FC236}">
                  <a16:creationId xmlns:a16="http://schemas.microsoft.com/office/drawing/2014/main" id="{C1C78C50-3038-4F08-9F19-B2B094DEE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24">
              <a:extLst>
                <a:ext uri="{FF2B5EF4-FFF2-40B4-BE49-F238E27FC236}">
                  <a16:creationId xmlns:a16="http://schemas.microsoft.com/office/drawing/2014/main" id="{7D567599-72F5-4B9B-8193-F9C2030D7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5">
              <a:extLst>
                <a:ext uri="{FF2B5EF4-FFF2-40B4-BE49-F238E27FC236}">
                  <a16:creationId xmlns:a16="http://schemas.microsoft.com/office/drawing/2014/main" id="{2878B465-658A-440A-86A1-0DF4545FF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6">
              <a:extLst>
                <a:ext uri="{FF2B5EF4-FFF2-40B4-BE49-F238E27FC236}">
                  <a16:creationId xmlns:a16="http://schemas.microsoft.com/office/drawing/2014/main" id="{31404212-799F-4F1D-B152-EB8397685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7">
              <a:extLst>
                <a:ext uri="{FF2B5EF4-FFF2-40B4-BE49-F238E27FC236}">
                  <a16:creationId xmlns:a16="http://schemas.microsoft.com/office/drawing/2014/main" id="{11587B18-E181-45E3-B433-C12D43C0A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8">
              <a:extLst>
                <a:ext uri="{FF2B5EF4-FFF2-40B4-BE49-F238E27FC236}">
                  <a16:creationId xmlns:a16="http://schemas.microsoft.com/office/drawing/2014/main" id="{483F52ED-1056-4FC0-B3D3-1A502E7B39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9">
              <a:extLst>
                <a:ext uri="{FF2B5EF4-FFF2-40B4-BE49-F238E27FC236}">
                  <a16:creationId xmlns:a16="http://schemas.microsoft.com/office/drawing/2014/main" id="{C7B25AAC-B115-433A-85ED-838D63024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0">
              <a:extLst>
                <a:ext uri="{FF2B5EF4-FFF2-40B4-BE49-F238E27FC236}">
                  <a16:creationId xmlns:a16="http://schemas.microsoft.com/office/drawing/2014/main" id="{B6F98FAD-845C-41C0-B6D4-29F657B67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1">
              <a:extLst>
                <a:ext uri="{FF2B5EF4-FFF2-40B4-BE49-F238E27FC236}">
                  <a16:creationId xmlns:a16="http://schemas.microsoft.com/office/drawing/2014/main" id="{BB8315A3-4522-401E-8D82-1C81EB81D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2">
              <a:extLst>
                <a:ext uri="{FF2B5EF4-FFF2-40B4-BE49-F238E27FC236}">
                  <a16:creationId xmlns:a16="http://schemas.microsoft.com/office/drawing/2014/main" id="{5A8EE34C-8ECD-415D-B6FA-9DBA2F412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33">
              <a:extLst>
                <a:ext uri="{FF2B5EF4-FFF2-40B4-BE49-F238E27FC236}">
                  <a16:creationId xmlns:a16="http://schemas.microsoft.com/office/drawing/2014/main" id="{3DC53973-8E5F-455C-AB3D-F736D2958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4">
              <a:extLst>
                <a:ext uri="{FF2B5EF4-FFF2-40B4-BE49-F238E27FC236}">
                  <a16:creationId xmlns:a16="http://schemas.microsoft.com/office/drawing/2014/main" id="{63ADCF43-CD0F-42EC-862F-87C67B593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5">
              <a:extLst>
                <a:ext uri="{FF2B5EF4-FFF2-40B4-BE49-F238E27FC236}">
                  <a16:creationId xmlns:a16="http://schemas.microsoft.com/office/drawing/2014/main" id="{91231BEC-C5F6-4E18-B347-6C4D4D056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6">
              <a:extLst>
                <a:ext uri="{FF2B5EF4-FFF2-40B4-BE49-F238E27FC236}">
                  <a16:creationId xmlns:a16="http://schemas.microsoft.com/office/drawing/2014/main" id="{7C6478E8-BBAD-487F-B070-085D06AF3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7">
              <a:extLst>
                <a:ext uri="{FF2B5EF4-FFF2-40B4-BE49-F238E27FC236}">
                  <a16:creationId xmlns:a16="http://schemas.microsoft.com/office/drawing/2014/main" id="{148E8AA6-A909-48E4-B6A7-2AFD51D8F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8">
              <a:extLst>
                <a:ext uri="{FF2B5EF4-FFF2-40B4-BE49-F238E27FC236}">
                  <a16:creationId xmlns:a16="http://schemas.microsoft.com/office/drawing/2014/main" id="{229715F2-0A07-4227-9393-C2AE12702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9">
              <a:extLst>
                <a:ext uri="{FF2B5EF4-FFF2-40B4-BE49-F238E27FC236}">
                  <a16:creationId xmlns:a16="http://schemas.microsoft.com/office/drawing/2014/main" id="{8129EB63-08A7-4206-AA76-2418D09D1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0">
              <a:extLst>
                <a:ext uri="{FF2B5EF4-FFF2-40B4-BE49-F238E27FC236}">
                  <a16:creationId xmlns:a16="http://schemas.microsoft.com/office/drawing/2014/main" id="{79D4D1CD-2C12-4088-A7FE-196D74393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1">
              <a:extLst>
                <a:ext uri="{FF2B5EF4-FFF2-40B4-BE49-F238E27FC236}">
                  <a16:creationId xmlns:a16="http://schemas.microsoft.com/office/drawing/2014/main" id="{101E3709-9D6E-492A-A0BD-AFD2D038C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2">
              <a:extLst>
                <a:ext uri="{FF2B5EF4-FFF2-40B4-BE49-F238E27FC236}">
                  <a16:creationId xmlns:a16="http://schemas.microsoft.com/office/drawing/2014/main" id="{FD70F9E8-5DAA-44FF-A08B-5028F744D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43">
              <a:extLst>
                <a:ext uri="{FF2B5EF4-FFF2-40B4-BE49-F238E27FC236}">
                  <a16:creationId xmlns:a16="http://schemas.microsoft.com/office/drawing/2014/main" id="{0ED8DB69-4684-4452-9AF7-98CE9E4F9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4">
              <a:extLst>
                <a:ext uri="{FF2B5EF4-FFF2-40B4-BE49-F238E27FC236}">
                  <a16:creationId xmlns:a16="http://schemas.microsoft.com/office/drawing/2014/main" id="{D7A982DE-39C2-48C5-9189-67CC13C4A2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5">
              <a:extLst>
                <a:ext uri="{FF2B5EF4-FFF2-40B4-BE49-F238E27FC236}">
                  <a16:creationId xmlns:a16="http://schemas.microsoft.com/office/drawing/2014/main" id="{587F27C6-41DB-46EC-92E6-111690B3D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6">
              <a:extLst>
                <a:ext uri="{FF2B5EF4-FFF2-40B4-BE49-F238E27FC236}">
                  <a16:creationId xmlns:a16="http://schemas.microsoft.com/office/drawing/2014/main" id="{9950CE34-F639-440E-85D0-755DA18BD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7">
              <a:extLst>
                <a:ext uri="{FF2B5EF4-FFF2-40B4-BE49-F238E27FC236}">
                  <a16:creationId xmlns:a16="http://schemas.microsoft.com/office/drawing/2014/main" id="{A70A5BAE-54B4-4120-B994-8B9D4B3C4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8">
              <a:extLst>
                <a:ext uri="{FF2B5EF4-FFF2-40B4-BE49-F238E27FC236}">
                  <a16:creationId xmlns:a16="http://schemas.microsoft.com/office/drawing/2014/main" id="{79458AF7-2DE4-4561-B1AB-FCB3CD700C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9">
              <a:extLst>
                <a:ext uri="{FF2B5EF4-FFF2-40B4-BE49-F238E27FC236}">
                  <a16:creationId xmlns:a16="http://schemas.microsoft.com/office/drawing/2014/main" id="{31E3F9E7-31FB-433F-A7C5-BEBE6B8BD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22D87D91-9183-4349-89FB-F347AA43BABC}"/>
              </a:ext>
            </a:extLst>
          </p:cNvPr>
          <p:cNvCxnSpPr>
            <a:cxnSpLocks/>
          </p:cNvCxnSpPr>
          <p:nvPr userDrawn="1"/>
        </p:nvCxnSpPr>
        <p:spPr>
          <a:xfrm flipV="1">
            <a:off x="890400" y="2303362"/>
            <a:ext cx="0" cy="3345084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alpha val="0"/>
                  </a:schemeClr>
                </a:gs>
                <a:gs pos="68000">
                  <a:schemeClr val="accent1"/>
                </a:gs>
                <a:gs pos="100000">
                  <a:schemeClr val="accent1"/>
                </a:gs>
              </a:gsLst>
              <a:lin ang="5400000" scaled="1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B6FF2164-94A9-46A7-9080-036F0CB6BD23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724911" y="3726181"/>
            <a:ext cx="1" cy="1922266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alpha val="0"/>
                  </a:schemeClr>
                </a:gs>
                <a:gs pos="68000">
                  <a:schemeClr val="accent1"/>
                </a:gs>
                <a:gs pos="100000">
                  <a:schemeClr val="accent1"/>
                </a:gs>
              </a:gsLst>
              <a:lin ang="5400000" scaled="1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1557125E-F94A-4BE3-8A70-F9B10F19DD3F}"/>
              </a:ext>
            </a:extLst>
          </p:cNvPr>
          <p:cNvCxnSpPr>
            <a:cxnSpLocks/>
          </p:cNvCxnSpPr>
          <p:nvPr userDrawn="1"/>
        </p:nvCxnSpPr>
        <p:spPr>
          <a:xfrm flipV="1">
            <a:off x="5537506" y="2370045"/>
            <a:ext cx="409" cy="2989034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alpha val="0"/>
                  </a:schemeClr>
                </a:gs>
                <a:gs pos="68000">
                  <a:schemeClr val="accent1"/>
                </a:gs>
                <a:gs pos="100000">
                  <a:schemeClr val="accent1"/>
                </a:gs>
              </a:gsLst>
              <a:lin ang="5400000" scaled="1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8D766F4C-16CC-43A0-B983-DB8B07BFC944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2222" y="3738623"/>
            <a:ext cx="0" cy="1620456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alpha val="0"/>
                  </a:schemeClr>
                </a:gs>
                <a:gs pos="68000">
                  <a:schemeClr val="accent1"/>
                </a:gs>
                <a:gs pos="100000">
                  <a:schemeClr val="accent1"/>
                </a:gs>
              </a:gsLst>
              <a:lin ang="5400000" scaled="1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矩形: 对角圆角 65">
            <a:extLst>
              <a:ext uri="{FF2B5EF4-FFF2-40B4-BE49-F238E27FC236}">
                <a16:creationId xmlns:a16="http://schemas.microsoft.com/office/drawing/2014/main" id="{9C4488AB-8BAB-48CE-995D-90CB74B385C2}"/>
              </a:ext>
            </a:extLst>
          </p:cNvPr>
          <p:cNvSpPr/>
          <p:nvPr userDrawn="1"/>
        </p:nvSpPr>
        <p:spPr>
          <a:xfrm>
            <a:off x="550039" y="1966077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7" name="文本占位符 6">
            <a:extLst>
              <a:ext uri="{FF2B5EF4-FFF2-40B4-BE49-F238E27FC236}">
                <a16:creationId xmlns:a16="http://schemas.microsoft.com/office/drawing/2014/main" id="{F78A9E7F-D111-4A29-BD05-994758AF84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53110" y="1573647"/>
            <a:ext cx="281617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8" name="文本占位符 6">
            <a:extLst>
              <a:ext uri="{FF2B5EF4-FFF2-40B4-BE49-F238E27FC236}">
                <a16:creationId xmlns:a16="http://schemas.microsoft.com/office/drawing/2014/main" id="{4F6AB336-4907-497B-83D6-1A61505509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53110" y="1937329"/>
            <a:ext cx="281617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9" name="文本占位符 6">
            <a:extLst>
              <a:ext uri="{FF2B5EF4-FFF2-40B4-BE49-F238E27FC236}">
                <a16:creationId xmlns:a16="http://schemas.microsoft.com/office/drawing/2014/main" id="{909EFF3D-6C55-48DE-BCEF-9FFF58A105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446401"/>
            <a:ext cx="748923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1</a:t>
            </a:r>
            <a:endParaRPr lang="en-US" dirty="0"/>
          </a:p>
        </p:txBody>
      </p:sp>
      <p:cxnSp>
        <p:nvCxnSpPr>
          <p:cNvPr id="70" name="直接连接符 69">
            <a:extLst>
              <a:ext uri="{FF2B5EF4-FFF2-40B4-BE49-F238E27FC236}">
                <a16:creationId xmlns:a16="http://schemas.microsoft.com/office/drawing/2014/main" id="{92FF09F0-6EC0-4AAF-B754-ABAD74E51F6F}"/>
              </a:ext>
            </a:extLst>
          </p:cNvPr>
          <p:cNvCxnSpPr>
            <a:cxnSpLocks/>
          </p:cNvCxnSpPr>
          <p:nvPr userDrawn="1"/>
        </p:nvCxnSpPr>
        <p:spPr>
          <a:xfrm>
            <a:off x="1353110" y="2148195"/>
            <a:ext cx="2816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矩形: 对角圆角 70">
            <a:extLst>
              <a:ext uri="{FF2B5EF4-FFF2-40B4-BE49-F238E27FC236}">
                <a16:creationId xmlns:a16="http://schemas.microsoft.com/office/drawing/2014/main" id="{E2E7F5F0-5205-4086-9BBB-8564125F2024}"/>
              </a:ext>
            </a:extLst>
          </p:cNvPr>
          <p:cNvSpPr/>
          <p:nvPr userDrawn="1"/>
        </p:nvSpPr>
        <p:spPr>
          <a:xfrm>
            <a:off x="1384551" y="3390884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2" name="文本占位符 6">
            <a:extLst>
              <a:ext uri="{FF2B5EF4-FFF2-40B4-BE49-F238E27FC236}">
                <a16:creationId xmlns:a16="http://schemas.microsoft.com/office/drawing/2014/main" id="{C78812EE-6F43-412E-BB72-2B325DD142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87622" y="2998454"/>
            <a:ext cx="281617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3" name="文本占位符 6">
            <a:extLst>
              <a:ext uri="{FF2B5EF4-FFF2-40B4-BE49-F238E27FC236}">
                <a16:creationId xmlns:a16="http://schemas.microsoft.com/office/drawing/2014/main" id="{69BD8BD1-32A2-43A6-B6CA-011DBF4769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87622" y="3362136"/>
            <a:ext cx="281617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4" name="文本占位符 6">
            <a:extLst>
              <a:ext uri="{FF2B5EF4-FFF2-40B4-BE49-F238E27FC236}">
                <a16:creationId xmlns:a16="http://schemas.microsoft.com/office/drawing/2014/main" id="{C6F3AE11-C459-418C-BB45-E642B849B7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12779" y="2871208"/>
            <a:ext cx="824265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2</a:t>
            </a:r>
            <a:endParaRPr lang="en-US" dirty="0"/>
          </a:p>
        </p:txBody>
      </p:sp>
      <p:cxnSp>
        <p:nvCxnSpPr>
          <p:cNvPr id="75" name="直接连接符 74">
            <a:extLst>
              <a:ext uri="{FF2B5EF4-FFF2-40B4-BE49-F238E27FC236}">
                <a16:creationId xmlns:a16="http://schemas.microsoft.com/office/drawing/2014/main" id="{AC6508A2-E5D0-47F3-89A2-A804221C0C2C}"/>
              </a:ext>
            </a:extLst>
          </p:cNvPr>
          <p:cNvCxnSpPr>
            <a:cxnSpLocks/>
          </p:cNvCxnSpPr>
          <p:nvPr userDrawn="1"/>
        </p:nvCxnSpPr>
        <p:spPr>
          <a:xfrm>
            <a:off x="2187622" y="3573002"/>
            <a:ext cx="2816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矩形: 对角圆角 75">
            <a:extLst>
              <a:ext uri="{FF2B5EF4-FFF2-40B4-BE49-F238E27FC236}">
                <a16:creationId xmlns:a16="http://schemas.microsoft.com/office/drawing/2014/main" id="{F59EECC9-6902-4E92-8BB3-382091DDF6C7}"/>
              </a:ext>
            </a:extLst>
          </p:cNvPr>
          <p:cNvSpPr/>
          <p:nvPr userDrawn="1"/>
        </p:nvSpPr>
        <p:spPr>
          <a:xfrm>
            <a:off x="5197350" y="1966077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7" name="文本占位符 6">
            <a:extLst>
              <a:ext uri="{FF2B5EF4-FFF2-40B4-BE49-F238E27FC236}">
                <a16:creationId xmlns:a16="http://schemas.microsoft.com/office/drawing/2014/main" id="{8E9FBB3D-EAC4-49D6-9CE6-5D1F3C945A8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00421" y="1573647"/>
            <a:ext cx="281617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8" name="文本占位符 6">
            <a:extLst>
              <a:ext uri="{FF2B5EF4-FFF2-40B4-BE49-F238E27FC236}">
                <a16:creationId xmlns:a16="http://schemas.microsoft.com/office/drawing/2014/main" id="{5122E474-5319-478F-98AC-88246B0860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00421" y="1937329"/>
            <a:ext cx="281617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9" name="文本占位符 6">
            <a:extLst>
              <a:ext uri="{FF2B5EF4-FFF2-40B4-BE49-F238E27FC236}">
                <a16:creationId xmlns:a16="http://schemas.microsoft.com/office/drawing/2014/main" id="{96E002CE-1766-4047-82E2-AE0B85E3D7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16762" y="1446401"/>
            <a:ext cx="841897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3</a:t>
            </a:r>
            <a:endParaRPr lang="en-US" dirty="0"/>
          </a:p>
        </p:txBody>
      </p:sp>
      <p:cxnSp>
        <p:nvCxnSpPr>
          <p:cNvPr id="80" name="直接连接符 79">
            <a:extLst>
              <a:ext uri="{FF2B5EF4-FFF2-40B4-BE49-F238E27FC236}">
                <a16:creationId xmlns:a16="http://schemas.microsoft.com/office/drawing/2014/main" id="{B35216D6-C50A-4FC9-9803-6E9C685A31C8}"/>
              </a:ext>
            </a:extLst>
          </p:cNvPr>
          <p:cNvCxnSpPr>
            <a:cxnSpLocks/>
          </p:cNvCxnSpPr>
          <p:nvPr userDrawn="1"/>
        </p:nvCxnSpPr>
        <p:spPr>
          <a:xfrm>
            <a:off x="6000421" y="2148195"/>
            <a:ext cx="2816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矩形: 对角圆角 80">
            <a:extLst>
              <a:ext uri="{FF2B5EF4-FFF2-40B4-BE49-F238E27FC236}">
                <a16:creationId xmlns:a16="http://schemas.microsoft.com/office/drawing/2014/main" id="{7575BFEF-A6BF-4109-8EA3-33FFA09CA2FB}"/>
              </a:ext>
            </a:extLst>
          </p:cNvPr>
          <p:cNvSpPr/>
          <p:nvPr userDrawn="1"/>
        </p:nvSpPr>
        <p:spPr>
          <a:xfrm>
            <a:off x="6031862" y="3390884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82" name="文本占位符 6">
            <a:extLst>
              <a:ext uri="{FF2B5EF4-FFF2-40B4-BE49-F238E27FC236}">
                <a16:creationId xmlns:a16="http://schemas.microsoft.com/office/drawing/2014/main" id="{2D65661E-ED04-4FC6-961F-7D85FDD65E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34933" y="2998454"/>
            <a:ext cx="281617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3" name="文本占位符 6">
            <a:extLst>
              <a:ext uri="{FF2B5EF4-FFF2-40B4-BE49-F238E27FC236}">
                <a16:creationId xmlns:a16="http://schemas.microsoft.com/office/drawing/2014/main" id="{AD9D95D2-C292-4D18-9E6C-C5A3F2BE73A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34933" y="3362136"/>
            <a:ext cx="281617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4" name="文本占位符 6">
            <a:extLst>
              <a:ext uri="{FF2B5EF4-FFF2-40B4-BE49-F238E27FC236}">
                <a16:creationId xmlns:a16="http://schemas.microsoft.com/office/drawing/2014/main" id="{D811A90D-18C5-4187-8FA9-58BB0BDA6A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60892" y="2871208"/>
            <a:ext cx="822661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4</a:t>
            </a:r>
            <a:endParaRPr lang="en-US" dirty="0"/>
          </a:p>
        </p:txBody>
      </p:sp>
      <p:cxnSp>
        <p:nvCxnSpPr>
          <p:cNvPr id="85" name="直接连接符 84">
            <a:extLst>
              <a:ext uri="{FF2B5EF4-FFF2-40B4-BE49-F238E27FC236}">
                <a16:creationId xmlns:a16="http://schemas.microsoft.com/office/drawing/2014/main" id="{C4A6ABAA-4347-4830-95BB-F02294E877E4}"/>
              </a:ext>
            </a:extLst>
          </p:cNvPr>
          <p:cNvCxnSpPr>
            <a:cxnSpLocks/>
          </p:cNvCxnSpPr>
          <p:nvPr userDrawn="1"/>
        </p:nvCxnSpPr>
        <p:spPr>
          <a:xfrm>
            <a:off x="6834933" y="3573002"/>
            <a:ext cx="2816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0853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5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22E1ECFC-8538-4076-9289-B852DD1A37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68472E84-214D-489C-A745-0C0ABEBAA3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8000">
                <a:schemeClr val="bg1">
                  <a:alpha val="45000"/>
                </a:schemeClr>
              </a:gs>
              <a:gs pos="80000">
                <a:schemeClr val="bg1">
                  <a:alpha val="82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任意多边形: 形状 117">
            <a:extLst>
              <a:ext uri="{FF2B5EF4-FFF2-40B4-BE49-F238E27FC236}">
                <a16:creationId xmlns:a16="http://schemas.microsoft.com/office/drawing/2014/main" id="{6DC6AE27-90FE-4E35-A04A-EFA388819C1A}"/>
              </a:ext>
            </a:extLst>
          </p:cNvPr>
          <p:cNvSpPr/>
          <p:nvPr userDrawn="1"/>
        </p:nvSpPr>
        <p:spPr>
          <a:xfrm>
            <a:off x="4119624" y="3588636"/>
            <a:ext cx="3728976" cy="3269364"/>
          </a:xfrm>
          <a:custGeom>
            <a:avLst/>
            <a:gdLst>
              <a:gd name="connsiteX0" fmla="*/ 1864488 w 3728976"/>
              <a:gd name="connsiteY0" fmla="*/ 0 h 3269364"/>
              <a:gd name="connsiteX1" fmla="*/ 3728976 w 3728976"/>
              <a:gd name="connsiteY1" fmla="*/ 1864487 h 3269364"/>
              <a:gd name="connsiteX2" fmla="*/ 3182880 w 3728976"/>
              <a:gd name="connsiteY2" fmla="*/ 3182879 h 3269364"/>
              <a:gd name="connsiteX3" fmla="*/ 3087722 w 3728976"/>
              <a:gd name="connsiteY3" fmla="*/ 3269364 h 3269364"/>
              <a:gd name="connsiteX4" fmla="*/ 2866319 w 3728976"/>
              <a:gd name="connsiteY4" fmla="*/ 3269364 h 3269364"/>
              <a:gd name="connsiteX5" fmla="*/ 2962984 w 3728976"/>
              <a:gd name="connsiteY5" fmla="*/ 3197080 h 3269364"/>
              <a:gd name="connsiteX6" fmla="*/ 3591431 w 3728976"/>
              <a:gd name="connsiteY6" fmla="*/ 1864487 h 3269364"/>
              <a:gd name="connsiteX7" fmla="*/ 1864488 w 3728976"/>
              <a:gd name="connsiteY7" fmla="*/ 137545 h 3269364"/>
              <a:gd name="connsiteX8" fmla="*/ 137545 w 3728976"/>
              <a:gd name="connsiteY8" fmla="*/ 1864487 h 3269364"/>
              <a:gd name="connsiteX9" fmla="*/ 765992 w 3728976"/>
              <a:gd name="connsiteY9" fmla="*/ 3197080 h 3269364"/>
              <a:gd name="connsiteX10" fmla="*/ 862657 w 3728976"/>
              <a:gd name="connsiteY10" fmla="*/ 3269364 h 3269364"/>
              <a:gd name="connsiteX11" fmla="*/ 641255 w 3728976"/>
              <a:gd name="connsiteY11" fmla="*/ 3269364 h 3269364"/>
              <a:gd name="connsiteX12" fmla="*/ 546097 w 3728976"/>
              <a:gd name="connsiteY12" fmla="*/ 3182879 h 3269364"/>
              <a:gd name="connsiteX13" fmla="*/ 0 w 3728976"/>
              <a:gd name="connsiteY13" fmla="*/ 1864487 h 3269364"/>
              <a:gd name="connsiteX14" fmla="*/ 1864488 w 3728976"/>
              <a:gd name="connsiteY14" fmla="*/ 0 h 3269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728976" h="3269364">
                <a:moveTo>
                  <a:pt x="1864488" y="0"/>
                </a:moveTo>
                <a:cubicBezTo>
                  <a:pt x="2894216" y="0"/>
                  <a:pt x="3728976" y="834759"/>
                  <a:pt x="3728976" y="1864487"/>
                </a:cubicBezTo>
                <a:cubicBezTo>
                  <a:pt x="3728976" y="2379351"/>
                  <a:pt x="3520286" y="2845473"/>
                  <a:pt x="3182880" y="3182879"/>
                </a:cubicBezTo>
                <a:lnTo>
                  <a:pt x="3087722" y="3269364"/>
                </a:lnTo>
                <a:lnTo>
                  <a:pt x="2866319" y="3269364"/>
                </a:lnTo>
                <a:lnTo>
                  <a:pt x="2962984" y="3197080"/>
                </a:lnTo>
                <a:cubicBezTo>
                  <a:pt x="3346793" y="2880333"/>
                  <a:pt x="3591431" y="2400980"/>
                  <a:pt x="3591431" y="1864487"/>
                </a:cubicBezTo>
                <a:cubicBezTo>
                  <a:pt x="3591431" y="910723"/>
                  <a:pt x="2818252" y="137545"/>
                  <a:pt x="1864488" y="137545"/>
                </a:cubicBezTo>
                <a:cubicBezTo>
                  <a:pt x="910724" y="137545"/>
                  <a:pt x="137545" y="910723"/>
                  <a:pt x="137545" y="1864487"/>
                </a:cubicBezTo>
                <a:cubicBezTo>
                  <a:pt x="137545" y="2400980"/>
                  <a:pt x="382184" y="2880333"/>
                  <a:pt x="765992" y="3197080"/>
                </a:cubicBezTo>
                <a:lnTo>
                  <a:pt x="862657" y="3269364"/>
                </a:lnTo>
                <a:lnTo>
                  <a:pt x="641255" y="3269364"/>
                </a:lnTo>
                <a:lnTo>
                  <a:pt x="546097" y="3182879"/>
                </a:lnTo>
                <a:cubicBezTo>
                  <a:pt x="208690" y="2845473"/>
                  <a:pt x="0" y="2379351"/>
                  <a:pt x="0" y="1864487"/>
                </a:cubicBezTo>
                <a:cubicBezTo>
                  <a:pt x="0" y="834759"/>
                  <a:pt x="834760" y="0"/>
                  <a:pt x="1864488" y="0"/>
                </a:cubicBez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0" name="任意多边形: 形状 119">
            <a:extLst>
              <a:ext uri="{FF2B5EF4-FFF2-40B4-BE49-F238E27FC236}">
                <a16:creationId xmlns:a16="http://schemas.microsoft.com/office/drawing/2014/main" id="{2E51FF78-7097-436B-A6AF-FB455144A795}"/>
              </a:ext>
            </a:extLst>
          </p:cNvPr>
          <p:cNvSpPr/>
          <p:nvPr userDrawn="1"/>
        </p:nvSpPr>
        <p:spPr>
          <a:xfrm>
            <a:off x="4257169" y="3726182"/>
            <a:ext cx="3453886" cy="3131819"/>
          </a:xfrm>
          <a:custGeom>
            <a:avLst/>
            <a:gdLst>
              <a:gd name="connsiteX0" fmla="*/ 1726943 w 3453886"/>
              <a:gd name="connsiteY0" fmla="*/ 0 h 3131819"/>
              <a:gd name="connsiteX1" fmla="*/ 3453886 w 3453886"/>
              <a:gd name="connsiteY1" fmla="*/ 1726942 h 3131819"/>
              <a:gd name="connsiteX2" fmla="*/ 2825439 w 3453886"/>
              <a:gd name="connsiteY2" fmla="*/ 3059535 h 3131819"/>
              <a:gd name="connsiteX3" fmla="*/ 2728775 w 3453886"/>
              <a:gd name="connsiteY3" fmla="*/ 3131819 h 3131819"/>
              <a:gd name="connsiteX4" fmla="*/ 725112 w 3453886"/>
              <a:gd name="connsiteY4" fmla="*/ 3131819 h 3131819"/>
              <a:gd name="connsiteX5" fmla="*/ 628447 w 3453886"/>
              <a:gd name="connsiteY5" fmla="*/ 3059535 h 3131819"/>
              <a:gd name="connsiteX6" fmla="*/ 0 w 3453886"/>
              <a:gd name="connsiteY6" fmla="*/ 1726942 h 3131819"/>
              <a:gd name="connsiteX7" fmla="*/ 1726943 w 3453886"/>
              <a:gd name="connsiteY7" fmla="*/ 0 h 3131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53886" h="3131819">
                <a:moveTo>
                  <a:pt x="1726943" y="0"/>
                </a:moveTo>
                <a:cubicBezTo>
                  <a:pt x="2680707" y="0"/>
                  <a:pt x="3453886" y="773178"/>
                  <a:pt x="3453886" y="1726942"/>
                </a:cubicBezTo>
                <a:cubicBezTo>
                  <a:pt x="3453886" y="2263435"/>
                  <a:pt x="3209248" y="2742788"/>
                  <a:pt x="2825439" y="3059535"/>
                </a:cubicBezTo>
                <a:lnTo>
                  <a:pt x="2728775" y="3131819"/>
                </a:lnTo>
                <a:lnTo>
                  <a:pt x="725112" y="3131819"/>
                </a:lnTo>
                <a:lnTo>
                  <a:pt x="628447" y="3059535"/>
                </a:lnTo>
                <a:cubicBezTo>
                  <a:pt x="244639" y="2742788"/>
                  <a:pt x="0" y="2263435"/>
                  <a:pt x="0" y="1726942"/>
                </a:cubicBezTo>
                <a:cubicBezTo>
                  <a:pt x="0" y="773178"/>
                  <a:pt x="773179" y="0"/>
                  <a:pt x="172694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75F4B549-78BD-4DCA-926E-6B1FBA830714}"/>
              </a:ext>
            </a:extLst>
          </p:cNvPr>
          <p:cNvCxnSpPr>
            <a:cxnSpLocks/>
          </p:cNvCxnSpPr>
          <p:nvPr userDrawn="1"/>
        </p:nvCxnSpPr>
        <p:spPr>
          <a:xfrm>
            <a:off x="4899439" y="5634424"/>
            <a:ext cx="2166842" cy="0"/>
          </a:xfrm>
          <a:prstGeom prst="line">
            <a:avLst/>
          </a:prstGeom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文本框 55">
            <a:extLst>
              <a:ext uri="{FF2B5EF4-FFF2-40B4-BE49-F238E27FC236}">
                <a16:creationId xmlns:a16="http://schemas.microsoft.com/office/drawing/2014/main" id="{5FC807D9-ED77-4A4C-80C1-D96391238A51}"/>
              </a:ext>
            </a:extLst>
          </p:cNvPr>
          <p:cNvSpPr txBox="1"/>
          <p:nvPr userDrawn="1"/>
        </p:nvSpPr>
        <p:spPr>
          <a:xfrm>
            <a:off x="4899439" y="5774684"/>
            <a:ext cx="2166842" cy="425456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dist"/>
            <a:r>
              <a:rPr lang="en-US" altLang="zh-CN" sz="2000" dirty="0">
                <a:solidFill>
                  <a:schemeClr val="bg1">
                    <a:alpha val="7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CON</a:t>
            </a:r>
            <a:r>
              <a:rPr lang="en-US" altLang="zh-CN" sz="2000" dirty="0">
                <a:solidFill>
                  <a:schemeClr val="bg1">
                    <a:alpha val="70000"/>
                  </a:schemeClr>
                </a:solidFill>
                <a:latin typeface="Impact" panose="020B0806030902050204" pitchFamily="34" charset="0"/>
              </a:rPr>
              <a:t>TENTS</a:t>
            </a:r>
          </a:p>
        </p:txBody>
      </p: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468EAA44-7588-4680-9F35-826664677756}"/>
              </a:ext>
            </a:extLst>
          </p:cNvPr>
          <p:cNvCxnSpPr>
            <a:cxnSpLocks/>
          </p:cNvCxnSpPr>
          <p:nvPr userDrawn="1"/>
        </p:nvCxnSpPr>
        <p:spPr>
          <a:xfrm>
            <a:off x="4899439" y="5705544"/>
            <a:ext cx="2166842" cy="0"/>
          </a:xfrm>
          <a:prstGeom prst="line">
            <a:avLst/>
          </a:prstGeom>
          <a:ln w="63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标题 1">
            <a:extLst>
              <a:ext uri="{FF2B5EF4-FFF2-40B4-BE49-F238E27FC236}">
                <a16:creationId xmlns:a16="http://schemas.microsoft.com/office/drawing/2014/main" id="{6512DFD9-739B-4366-8DB3-CC3C67268B74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966750" y="4613761"/>
            <a:ext cx="2032220" cy="923330"/>
          </a:xfrm>
        </p:spPr>
        <p:txBody>
          <a:bodyPr lIns="0" tIns="0" rIns="0" bIns="0" anchor="ctr">
            <a:noAutofit/>
          </a:bodyPr>
          <a:lstStyle>
            <a:lvl1pPr marL="0" algn="dist" defTabSz="457200" rtl="0" eaLnBrk="1" latinLnBrk="0" hangingPunct="1">
              <a:lnSpc>
                <a:spcPct val="100000"/>
              </a:lnSpc>
              <a:defRPr lang="en-US" sz="60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目录</a:t>
            </a:r>
            <a:endParaRPr 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27196716-310E-450B-99C9-FFBAD5640998}"/>
              </a:ext>
            </a:extLst>
          </p:cNvPr>
          <p:cNvSpPr txBox="1"/>
          <p:nvPr/>
        </p:nvSpPr>
        <p:spPr>
          <a:xfrm>
            <a:off x="4899439" y="4532109"/>
            <a:ext cx="2166842" cy="923330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dist"/>
            <a:r>
              <a:rPr lang="zh-CN" altLang="en-US" sz="6000" b="1" spc="600" dirty="0">
                <a:ln>
                  <a:gradFill>
                    <a:gsLst>
                      <a:gs pos="12000">
                        <a:schemeClr val="bg1"/>
                      </a:gs>
                      <a:gs pos="18000">
                        <a:schemeClr val="bg1">
                          <a:alpha val="5200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noFill/>
              </a:rPr>
              <a:t>目录</a:t>
            </a:r>
            <a:endParaRPr lang="en-US" sz="6000" b="1" spc="600" dirty="0">
              <a:ln>
                <a:gradFill>
                  <a:gsLst>
                    <a:gs pos="12000">
                      <a:schemeClr val="bg1"/>
                    </a:gs>
                    <a:gs pos="18000">
                      <a:schemeClr val="bg1">
                        <a:alpha val="52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</a:ln>
              <a:noFill/>
            </a:endParaRPr>
          </a:p>
        </p:txBody>
      </p:sp>
      <p:sp>
        <p:nvSpPr>
          <p:cNvPr id="119" name="任意多边形: 形状 118">
            <a:extLst>
              <a:ext uri="{FF2B5EF4-FFF2-40B4-BE49-F238E27FC236}">
                <a16:creationId xmlns:a16="http://schemas.microsoft.com/office/drawing/2014/main" id="{880FF84D-353A-4D91-9FD2-85D33B9D53C7}"/>
              </a:ext>
            </a:extLst>
          </p:cNvPr>
          <p:cNvSpPr/>
          <p:nvPr userDrawn="1"/>
        </p:nvSpPr>
        <p:spPr>
          <a:xfrm>
            <a:off x="4338191" y="3807204"/>
            <a:ext cx="3291842" cy="3050797"/>
          </a:xfrm>
          <a:custGeom>
            <a:avLst/>
            <a:gdLst>
              <a:gd name="connsiteX0" fmla="*/ 1645921 w 3291842"/>
              <a:gd name="connsiteY0" fmla="*/ 0 h 3050797"/>
              <a:gd name="connsiteX1" fmla="*/ 3291842 w 3291842"/>
              <a:gd name="connsiteY1" fmla="*/ 1645920 h 3050797"/>
              <a:gd name="connsiteX2" fmla="*/ 2566171 w 3291842"/>
              <a:gd name="connsiteY2" fmla="*/ 3010743 h 3050797"/>
              <a:gd name="connsiteX3" fmla="*/ 2500240 w 3291842"/>
              <a:gd name="connsiteY3" fmla="*/ 3050797 h 3050797"/>
              <a:gd name="connsiteX4" fmla="*/ 791603 w 3291842"/>
              <a:gd name="connsiteY4" fmla="*/ 3050797 h 3050797"/>
              <a:gd name="connsiteX5" fmla="*/ 725671 w 3291842"/>
              <a:gd name="connsiteY5" fmla="*/ 3010743 h 3050797"/>
              <a:gd name="connsiteX6" fmla="*/ 0 w 3291842"/>
              <a:gd name="connsiteY6" fmla="*/ 1645920 h 3050797"/>
              <a:gd name="connsiteX7" fmla="*/ 1645921 w 3291842"/>
              <a:gd name="connsiteY7" fmla="*/ 0 h 3050797"/>
              <a:gd name="connsiteX0" fmla="*/ 1645921 w 3291842"/>
              <a:gd name="connsiteY0" fmla="*/ 0 h 3553716"/>
              <a:gd name="connsiteX1" fmla="*/ 3291842 w 3291842"/>
              <a:gd name="connsiteY1" fmla="*/ 1645920 h 3553716"/>
              <a:gd name="connsiteX2" fmla="*/ 2566171 w 3291842"/>
              <a:gd name="connsiteY2" fmla="*/ 3010743 h 3553716"/>
              <a:gd name="connsiteX3" fmla="*/ 2500240 w 3291842"/>
              <a:gd name="connsiteY3" fmla="*/ 3050797 h 3553716"/>
              <a:gd name="connsiteX4" fmla="*/ 1483489 w 3291842"/>
              <a:gd name="connsiteY4" fmla="*/ 3553716 h 3553716"/>
              <a:gd name="connsiteX5" fmla="*/ 791603 w 3291842"/>
              <a:gd name="connsiteY5" fmla="*/ 3050797 h 3553716"/>
              <a:gd name="connsiteX6" fmla="*/ 725671 w 3291842"/>
              <a:gd name="connsiteY6" fmla="*/ 3010743 h 3553716"/>
              <a:gd name="connsiteX7" fmla="*/ 0 w 3291842"/>
              <a:gd name="connsiteY7" fmla="*/ 1645920 h 3553716"/>
              <a:gd name="connsiteX8" fmla="*/ 1645921 w 3291842"/>
              <a:gd name="connsiteY8" fmla="*/ 0 h 3553716"/>
              <a:gd name="connsiteX0" fmla="*/ 1483489 w 3291842"/>
              <a:gd name="connsiteY0" fmla="*/ 3553716 h 3645156"/>
              <a:gd name="connsiteX1" fmla="*/ 791603 w 3291842"/>
              <a:gd name="connsiteY1" fmla="*/ 3050797 h 3645156"/>
              <a:gd name="connsiteX2" fmla="*/ 725671 w 3291842"/>
              <a:gd name="connsiteY2" fmla="*/ 3010743 h 3645156"/>
              <a:gd name="connsiteX3" fmla="*/ 0 w 3291842"/>
              <a:gd name="connsiteY3" fmla="*/ 1645920 h 3645156"/>
              <a:gd name="connsiteX4" fmla="*/ 1645921 w 3291842"/>
              <a:gd name="connsiteY4" fmla="*/ 0 h 3645156"/>
              <a:gd name="connsiteX5" fmla="*/ 3291842 w 3291842"/>
              <a:gd name="connsiteY5" fmla="*/ 1645920 h 3645156"/>
              <a:gd name="connsiteX6" fmla="*/ 2566171 w 3291842"/>
              <a:gd name="connsiteY6" fmla="*/ 3010743 h 3645156"/>
              <a:gd name="connsiteX7" fmla="*/ 2500240 w 3291842"/>
              <a:gd name="connsiteY7" fmla="*/ 3050797 h 3645156"/>
              <a:gd name="connsiteX8" fmla="*/ 1574929 w 3291842"/>
              <a:gd name="connsiteY8" fmla="*/ 3645156 h 3645156"/>
              <a:gd name="connsiteX0" fmla="*/ 1483489 w 3291842"/>
              <a:gd name="connsiteY0" fmla="*/ 3553716 h 3553716"/>
              <a:gd name="connsiteX1" fmla="*/ 791603 w 3291842"/>
              <a:gd name="connsiteY1" fmla="*/ 3050797 h 3553716"/>
              <a:gd name="connsiteX2" fmla="*/ 725671 w 3291842"/>
              <a:gd name="connsiteY2" fmla="*/ 3010743 h 3553716"/>
              <a:gd name="connsiteX3" fmla="*/ 0 w 3291842"/>
              <a:gd name="connsiteY3" fmla="*/ 1645920 h 3553716"/>
              <a:gd name="connsiteX4" fmla="*/ 1645921 w 3291842"/>
              <a:gd name="connsiteY4" fmla="*/ 0 h 3553716"/>
              <a:gd name="connsiteX5" fmla="*/ 3291842 w 3291842"/>
              <a:gd name="connsiteY5" fmla="*/ 1645920 h 3553716"/>
              <a:gd name="connsiteX6" fmla="*/ 2566171 w 3291842"/>
              <a:gd name="connsiteY6" fmla="*/ 3010743 h 3553716"/>
              <a:gd name="connsiteX7" fmla="*/ 2500240 w 3291842"/>
              <a:gd name="connsiteY7" fmla="*/ 3050797 h 3553716"/>
              <a:gd name="connsiteX0" fmla="*/ 791603 w 3291842"/>
              <a:gd name="connsiteY0" fmla="*/ 3050797 h 3050797"/>
              <a:gd name="connsiteX1" fmla="*/ 725671 w 3291842"/>
              <a:gd name="connsiteY1" fmla="*/ 3010743 h 3050797"/>
              <a:gd name="connsiteX2" fmla="*/ 0 w 3291842"/>
              <a:gd name="connsiteY2" fmla="*/ 1645920 h 3050797"/>
              <a:gd name="connsiteX3" fmla="*/ 1645921 w 3291842"/>
              <a:gd name="connsiteY3" fmla="*/ 0 h 3050797"/>
              <a:gd name="connsiteX4" fmla="*/ 3291842 w 3291842"/>
              <a:gd name="connsiteY4" fmla="*/ 1645920 h 3050797"/>
              <a:gd name="connsiteX5" fmla="*/ 2566171 w 3291842"/>
              <a:gd name="connsiteY5" fmla="*/ 3010743 h 3050797"/>
              <a:gd name="connsiteX6" fmla="*/ 2500240 w 3291842"/>
              <a:gd name="connsiteY6" fmla="*/ 3050797 h 3050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91842" h="3050797">
                <a:moveTo>
                  <a:pt x="791603" y="3050797"/>
                </a:moveTo>
                <a:lnTo>
                  <a:pt x="725671" y="3010743"/>
                </a:lnTo>
                <a:cubicBezTo>
                  <a:pt x="287854" y="2714959"/>
                  <a:pt x="0" y="2214056"/>
                  <a:pt x="0" y="1645920"/>
                </a:cubicBezTo>
                <a:cubicBezTo>
                  <a:pt x="0" y="736903"/>
                  <a:pt x="736904" y="0"/>
                  <a:pt x="1645921" y="0"/>
                </a:cubicBezTo>
                <a:cubicBezTo>
                  <a:pt x="2554938" y="0"/>
                  <a:pt x="3291842" y="736903"/>
                  <a:pt x="3291842" y="1645920"/>
                </a:cubicBezTo>
                <a:cubicBezTo>
                  <a:pt x="3291842" y="2214056"/>
                  <a:pt x="3003989" y="2714959"/>
                  <a:pt x="2566171" y="3010743"/>
                </a:cubicBezTo>
                <a:lnTo>
                  <a:pt x="2500240" y="3050797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alpha val="90000"/>
                      </a:schemeClr>
                    </a:gs>
                    <a:gs pos="100000">
                      <a:schemeClr val="accent1">
                        <a:lumMod val="75000"/>
                        <a:alpha val="90000"/>
                      </a:schemeClr>
                    </a:gs>
                  </a:gsLst>
                  <a:lin ang="16200000" scaled="1"/>
                  <a:tileRect/>
                </a:gra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61" name="组合 160">
            <a:extLst>
              <a:ext uri="{FF2B5EF4-FFF2-40B4-BE49-F238E27FC236}">
                <a16:creationId xmlns:a16="http://schemas.microsoft.com/office/drawing/2014/main" id="{6E067A9B-9161-4302-9462-F450A60591D3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162" name="Freeform 5">
              <a:extLst>
                <a:ext uri="{FF2B5EF4-FFF2-40B4-BE49-F238E27FC236}">
                  <a16:creationId xmlns:a16="http://schemas.microsoft.com/office/drawing/2014/main" id="{681FE68F-20D9-4ADC-BA54-2893D020F0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7">
              <a:extLst>
                <a:ext uri="{FF2B5EF4-FFF2-40B4-BE49-F238E27FC236}">
                  <a16:creationId xmlns:a16="http://schemas.microsoft.com/office/drawing/2014/main" id="{3A81DC60-FE0E-4D64-8106-59639078B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8">
              <a:extLst>
                <a:ext uri="{FF2B5EF4-FFF2-40B4-BE49-F238E27FC236}">
                  <a16:creationId xmlns:a16="http://schemas.microsoft.com/office/drawing/2014/main" id="{67E6F362-E7D2-4A51-A2A1-AFB3F42C7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65" name="组合 164">
              <a:extLst>
                <a:ext uri="{FF2B5EF4-FFF2-40B4-BE49-F238E27FC236}">
                  <a16:creationId xmlns:a16="http://schemas.microsoft.com/office/drawing/2014/main" id="{D6B30CBC-F0E2-47F8-BE1E-CA02386BD239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206" name="Freeform 6">
                <a:extLst>
                  <a:ext uri="{FF2B5EF4-FFF2-40B4-BE49-F238E27FC236}">
                    <a16:creationId xmlns:a16="http://schemas.microsoft.com/office/drawing/2014/main" id="{41F0064E-2F4D-45C1-9407-6C72043C57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10">
                <a:extLst>
                  <a:ext uri="{FF2B5EF4-FFF2-40B4-BE49-F238E27FC236}">
                    <a16:creationId xmlns:a16="http://schemas.microsoft.com/office/drawing/2014/main" id="{8B4A96A6-BA05-47B1-B9C8-68F2AB3CDB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13">
                <a:extLst>
                  <a:ext uri="{FF2B5EF4-FFF2-40B4-BE49-F238E27FC236}">
                    <a16:creationId xmlns:a16="http://schemas.microsoft.com/office/drawing/2014/main" id="{7D3C1F7E-A781-4E54-895D-B380FA9503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6" name="组合 165">
              <a:extLst>
                <a:ext uri="{FF2B5EF4-FFF2-40B4-BE49-F238E27FC236}">
                  <a16:creationId xmlns:a16="http://schemas.microsoft.com/office/drawing/2014/main" id="{D2353A11-F1AE-4D4B-AB44-38A9A1DD56E9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201" name="Freeform 9">
                <a:extLst>
                  <a:ext uri="{FF2B5EF4-FFF2-40B4-BE49-F238E27FC236}">
                    <a16:creationId xmlns:a16="http://schemas.microsoft.com/office/drawing/2014/main" id="{DA85CDC3-6769-4E95-981B-E0E59D2C88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11">
                <a:extLst>
                  <a:ext uri="{FF2B5EF4-FFF2-40B4-BE49-F238E27FC236}">
                    <a16:creationId xmlns:a16="http://schemas.microsoft.com/office/drawing/2014/main" id="{065D1531-3CD4-4C56-857D-65CF234463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12">
                <a:extLst>
                  <a:ext uri="{FF2B5EF4-FFF2-40B4-BE49-F238E27FC236}">
                    <a16:creationId xmlns:a16="http://schemas.microsoft.com/office/drawing/2014/main" id="{BF9B613B-3989-4772-9182-F5C6A0129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14">
                <a:extLst>
                  <a:ext uri="{FF2B5EF4-FFF2-40B4-BE49-F238E27FC236}">
                    <a16:creationId xmlns:a16="http://schemas.microsoft.com/office/drawing/2014/main" id="{47741CB6-88D9-465C-8452-13B19D7A2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15">
                <a:extLst>
                  <a:ext uri="{FF2B5EF4-FFF2-40B4-BE49-F238E27FC236}">
                    <a16:creationId xmlns:a16="http://schemas.microsoft.com/office/drawing/2014/main" id="{2EF9E5D6-7E45-4D82-8747-823FED1545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7" name="Freeform 16">
              <a:extLst>
                <a:ext uri="{FF2B5EF4-FFF2-40B4-BE49-F238E27FC236}">
                  <a16:creationId xmlns:a16="http://schemas.microsoft.com/office/drawing/2014/main" id="{FE07C417-4364-48CF-9634-BD13898762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7">
              <a:extLst>
                <a:ext uri="{FF2B5EF4-FFF2-40B4-BE49-F238E27FC236}">
                  <a16:creationId xmlns:a16="http://schemas.microsoft.com/office/drawing/2014/main" id="{411C1F21-0B28-491B-BE9A-B36976CFB9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18">
              <a:extLst>
                <a:ext uri="{FF2B5EF4-FFF2-40B4-BE49-F238E27FC236}">
                  <a16:creationId xmlns:a16="http://schemas.microsoft.com/office/drawing/2014/main" id="{37D17330-7FF8-4B37-8E32-61377720DF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9">
              <a:extLst>
                <a:ext uri="{FF2B5EF4-FFF2-40B4-BE49-F238E27FC236}">
                  <a16:creationId xmlns:a16="http://schemas.microsoft.com/office/drawing/2014/main" id="{5F9AE247-18DF-4BFD-8756-EF884C2FB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0">
              <a:extLst>
                <a:ext uri="{FF2B5EF4-FFF2-40B4-BE49-F238E27FC236}">
                  <a16:creationId xmlns:a16="http://schemas.microsoft.com/office/drawing/2014/main" id="{655204DB-C70B-49E7-9CE1-34A3AFAD1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1">
              <a:extLst>
                <a:ext uri="{FF2B5EF4-FFF2-40B4-BE49-F238E27FC236}">
                  <a16:creationId xmlns:a16="http://schemas.microsoft.com/office/drawing/2014/main" id="{96E57BD1-C661-4C52-A085-9674FC67F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22">
              <a:extLst>
                <a:ext uri="{FF2B5EF4-FFF2-40B4-BE49-F238E27FC236}">
                  <a16:creationId xmlns:a16="http://schemas.microsoft.com/office/drawing/2014/main" id="{C6C3D71E-AA07-4CEA-A3EE-922ED315C6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23">
              <a:extLst>
                <a:ext uri="{FF2B5EF4-FFF2-40B4-BE49-F238E27FC236}">
                  <a16:creationId xmlns:a16="http://schemas.microsoft.com/office/drawing/2014/main" id="{9B9AB42A-0837-433E-8A3F-73754E799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24">
              <a:extLst>
                <a:ext uri="{FF2B5EF4-FFF2-40B4-BE49-F238E27FC236}">
                  <a16:creationId xmlns:a16="http://schemas.microsoft.com/office/drawing/2014/main" id="{34BC7BFC-660D-458D-AB7D-D9383DB2D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25">
              <a:extLst>
                <a:ext uri="{FF2B5EF4-FFF2-40B4-BE49-F238E27FC236}">
                  <a16:creationId xmlns:a16="http://schemas.microsoft.com/office/drawing/2014/main" id="{1AD41F07-697B-44DA-8B2B-D65D5E019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26">
              <a:extLst>
                <a:ext uri="{FF2B5EF4-FFF2-40B4-BE49-F238E27FC236}">
                  <a16:creationId xmlns:a16="http://schemas.microsoft.com/office/drawing/2014/main" id="{C0E33C2B-F9BC-4045-98E5-75B6F6BC39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27">
              <a:extLst>
                <a:ext uri="{FF2B5EF4-FFF2-40B4-BE49-F238E27FC236}">
                  <a16:creationId xmlns:a16="http://schemas.microsoft.com/office/drawing/2014/main" id="{728EF41C-F387-4C1F-B0BF-A452F96AB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28">
              <a:extLst>
                <a:ext uri="{FF2B5EF4-FFF2-40B4-BE49-F238E27FC236}">
                  <a16:creationId xmlns:a16="http://schemas.microsoft.com/office/drawing/2014/main" id="{8B0C0778-E5D1-4F06-A1F1-4F7066860D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29">
              <a:extLst>
                <a:ext uri="{FF2B5EF4-FFF2-40B4-BE49-F238E27FC236}">
                  <a16:creationId xmlns:a16="http://schemas.microsoft.com/office/drawing/2014/main" id="{B60F0E91-9D6D-4F9B-B69B-9AF9108F6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0">
              <a:extLst>
                <a:ext uri="{FF2B5EF4-FFF2-40B4-BE49-F238E27FC236}">
                  <a16:creationId xmlns:a16="http://schemas.microsoft.com/office/drawing/2014/main" id="{7A0E55DE-5BC7-471E-B2C2-2BBDBACA6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ECD0D540-48E1-442B-91F3-554345117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32">
              <a:extLst>
                <a:ext uri="{FF2B5EF4-FFF2-40B4-BE49-F238E27FC236}">
                  <a16:creationId xmlns:a16="http://schemas.microsoft.com/office/drawing/2014/main" id="{72D01F3E-CFC0-4124-8E82-DCC73AFEF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3">
              <a:extLst>
                <a:ext uri="{FF2B5EF4-FFF2-40B4-BE49-F238E27FC236}">
                  <a16:creationId xmlns:a16="http://schemas.microsoft.com/office/drawing/2014/main" id="{42D57348-6710-4FF5-AC28-16DF12337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4">
              <a:extLst>
                <a:ext uri="{FF2B5EF4-FFF2-40B4-BE49-F238E27FC236}">
                  <a16:creationId xmlns:a16="http://schemas.microsoft.com/office/drawing/2014/main" id="{AD149CD4-0DD9-4F9E-BE24-6F2BA5B3B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5">
              <a:extLst>
                <a:ext uri="{FF2B5EF4-FFF2-40B4-BE49-F238E27FC236}">
                  <a16:creationId xmlns:a16="http://schemas.microsoft.com/office/drawing/2014/main" id="{6B7FA4AE-BF12-4F80-876B-043E2BFDF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6">
              <a:extLst>
                <a:ext uri="{FF2B5EF4-FFF2-40B4-BE49-F238E27FC236}">
                  <a16:creationId xmlns:a16="http://schemas.microsoft.com/office/drawing/2014/main" id="{C6A5CAF1-8FAB-47C8-BA08-FF29603E5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7">
              <a:extLst>
                <a:ext uri="{FF2B5EF4-FFF2-40B4-BE49-F238E27FC236}">
                  <a16:creationId xmlns:a16="http://schemas.microsoft.com/office/drawing/2014/main" id="{101F64A1-C3BF-4CE7-8A5B-6CB8E1884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8">
              <a:extLst>
                <a:ext uri="{FF2B5EF4-FFF2-40B4-BE49-F238E27FC236}">
                  <a16:creationId xmlns:a16="http://schemas.microsoft.com/office/drawing/2014/main" id="{65AAC480-F8A7-4AE8-8C84-60E755E54F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9">
              <a:extLst>
                <a:ext uri="{FF2B5EF4-FFF2-40B4-BE49-F238E27FC236}">
                  <a16:creationId xmlns:a16="http://schemas.microsoft.com/office/drawing/2014/main" id="{91051CB8-51B7-425E-995D-11B1F8DC5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0">
              <a:extLst>
                <a:ext uri="{FF2B5EF4-FFF2-40B4-BE49-F238E27FC236}">
                  <a16:creationId xmlns:a16="http://schemas.microsoft.com/office/drawing/2014/main" id="{164CB5F4-E358-470E-93C1-BFF9BF0D4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1">
              <a:extLst>
                <a:ext uri="{FF2B5EF4-FFF2-40B4-BE49-F238E27FC236}">
                  <a16:creationId xmlns:a16="http://schemas.microsoft.com/office/drawing/2014/main" id="{99435765-967D-45FD-9782-238974493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42">
              <a:extLst>
                <a:ext uri="{FF2B5EF4-FFF2-40B4-BE49-F238E27FC236}">
                  <a16:creationId xmlns:a16="http://schemas.microsoft.com/office/drawing/2014/main" id="{4BBAB53B-F8F3-4738-853D-62D7BD8AD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43">
              <a:extLst>
                <a:ext uri="{FF2B5EF4-FFF2-40B4-BE49-F238E27FC236}">
                  <a16:creationId xmlns:a16="http://schemas.microsoft.com/office/drawing/2014/main" id="{AF9C0724-B187-4455-8014-5A616EA3C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44">
              <a:extLst>
                <a:ext uri="{FF2B5EF4-FFF2-40B4-BE49-F238E27FC236}">
                  <a16:creationId xmlns:a16="http://schemas.microsoft.com/office/drawing/2014/main" id="{2F50F544-9B8F-4E58-A0E3-533C732F50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45">
              <a:extLst>
                <a:ext uri="{FF2B5EF4-FFF2-40B4-BE49-F238E27FC236}">
                  <a16:creationId xmlns:a16="http://schemas.microsoft.com/office/drawing/2014/main" id="{0ADEBF15-3082-4CD8-973C-C9CA3C5B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6">
              <a:extLst>
                <a:ext uri="{FF2B5EF4-FFF2-40B4-BE49-F238E27FC236}">
                  <a16:creationId xmlns:a16="http://schemas.microsoft.com/office/drawing/2014/main" id="{930D3F30-0A0C-4CA3-AE31-84819986EB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47">
              <a:extLst>
                <a:ext uri="{FF2B5EF4-FFF2-40B4-BE49-F238E27FC236}">
                  <a16:creationId xmlns:a16="http://schemas.microsoft.com/office/drawing/2014/main" id="{0AAE9B25-46A2-4790-8156-D7FF47732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48">
              <a:extLst>
                <a:ext uri="{FF2B5EF4-FFF2-40B4-BE49-F238E27FC236}">
                  <a16:creationId xmlns:a16="http://schemas.microsoft.com/office/drawing/2014/main" id="{C0DCF8B9-ACE3-418B-811C-323D41D14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49">
              <a:extLst>
                <a:ext uri="{FF2B5EF4-FFF2-40B4-BE49-F238E27FC236}">
                  <a16:creationId xmlns:a16="http://schemas.microsoft.com/office/drawing/2014/main" id="{071AA72B-00B6-4D06-8156-5AA0D5C224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0" name="箭头: 上 69">
            <a:extLst>
              <a:ext uri="{FF2B5EF4-FFF2-40B4-BE49-F238E27FC236}">
                <a16:creationId xmlns:a16="http://schemas.microsoft.com/office/drawing/2014/main" id="{30FDDDAF-9EA4-470A-A3D2-BFE284CFE42C}"/>
              </a:ext>
            </a:extLst>
          </p:cNvPr>
          <p:cNvSpPr/>
          <p:nvPr userDrawn="1"/>
        </p:nvSpPr>
        <p:spPr>
          <a:xfrm rot="1265170">
            <a:off x="2107220" y="3470476"/>
            <a:ext cx="342900" cy="357809"/>
          </a:xfrm>
          <a:prstGeom prst="up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81" name="矩形: 对角圆角 80">
            <a:extLst>
              <a:ext uri="{FF2B5EF4-FFF2-40B4-BE49-F238E27FC236}">
                <a16:creationId xmlns:a16="http://schemas.microsoft.com/office/drawing/2014/main" id="{A68F3CBF-F51B-461C-A858-2B4A2915BFFC}"/>
              </a:ext>
            </a:extLst>
          </p:cNvPr>
          <p:cNvSpPr/>
          <p:nvPr/>
        </p:nvSpPr>
        <p:spPr>
          <a:xfrm>
            <a:off x="4087157" y="647177"/>
            <a:ext cx="3793910" cy="109959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2" name="矩形: 对角圆角 71">
            <a:extLst>
              <a:ext uri="{FF2B5EF4-FFF2-40B4-BE49-F238E27FC236}">
                <a16:creationId xmlns:a16="http://schemas.microsoft.com/office/drawing/2014/main" id="{D52E5909-B063-4210-ABFC-1537E0C9608C}"/>
              </a:ext>
            </a:extLst>
          </p:cNvPr>
          <p:cNvSpPr/>
          <p:nvPr/>
        </p:nvSpPr>
        <p:spPr>
          <a:xfrm>
            <a:off x="1378004" y="2131220"/>
            <a:ext cx="3793910" cy="109959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99" name="矩形: 对角圆角 98">
            <a:extLst>
              <a:ext uri="{FF2B5EF4-FFF2-40B4-BE49-F238E27FC236}">
                <a16:creationId xmlns:a16="http://schemas.microsoft.com/office/drawing/2014/main" id="{26838908-AE81-471E-B848-E4A7CD9EC858}"/>
              </a:ext>
            </a:extLst>
          </p:cNvPr>
          <p:cNvSpPr/>
          <p:nvPr userDrawn="1"/>
        </p:nvSpPr>
        <p:spPr>
          <a:xfrm>
            <a:off x="6796310" y="2131220"/>
            <a:ext cx="3793910" cy="109959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2" name="矩形: 对角圆角 61">
            <a:extLst>
              <a:ext uri="{FF2B5EF4-FFF2-40B4-BE49-F238E27FC236}">
                <a16:creationId xmlns:a16="http://schemas.microsoft.com/office/drawing/2014/main" id="{703A8F98-E41C-4711-A7A7-FA29029CF303}"/>
              </a:ext>
            </a:extLst>
          </p:cNvPr>
          <p:cNvSpPr/>
          <p:nvPr userDrawn="1"/>
        </p:nvSpPr>
        <p:spPr>
          <a:xfrm>
            <a:off x="517138" y="3989202"/>
            <a:ext cx="3793910" cy="109959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08" name="矩形: 对角圆角 107">
            <a:extLst>
              <a:ext uri="{FF2B5EF4-FFF2-40B4-BE49-F238E27FC236}">
                <a16:creationId xmlns:a16="http://schemas.microsoft.com/office/drawing/2014/main" id="{A79CD525-2C0E-4CAC-ACE9-B3E0843FF2C3}"/>
              </a:ext>
            </a:extLst>
          </p:cNvPr>
          <p:cNvSpPr/>
          <p:nvPr userDrawn="1"/>
        </p:nvSpPr>
        <p:spPr>
          <a:xfrm>
            <a:off x="7918665" y="4008658"/>
            <a:ext cx="3793910" cy="109959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17" name="箭头: 上 116">
            <a:extLst>
              <a:ext uri="{FF2B5EF4-FFF2-40B4-BE49-F238E27FC236}">
                <a16:creationId xmlns:a16="http://schemas.microsoft.com/office/drawing/2014/main" id="{00D7F795-6BC9-4A14-B056-6F129CA0F924}"/>
              </a:ext>
            </a:extLst>
          </p:cNvPr>
          <p:cNvSpPr/>
          <p:nvPr userDrawn="1"/>
        </p:nvSpPr>
        <p:spPr>
          <a:xfrm rot="2525825">
            <a:off x="3392008" y="1633794"/>
            <a:ext cx="342900" cy="357809"/>
          </a:xfrm>
          <a:prstGeom prst="up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1" name="箭头: 上 120">
            <a:extLst>
              <a:ext uri="{FF2B5EF4-FFF2-40B4-BE49-F238E27FC236}">
                <a16:creationId xmlns:a16="http://schemas.microsoft.com/office/drawing/2014/main" id="{B2B97110-5FD6-488E-A0D4-44FEB744D3AC}"/>
              </a:ext>
            </a:extLst>
          </p:cNvPr>
          <p:cNvSpPr/>
          <p:nvPr userDrawn="1"/>
        </p:nvSpPr>
        <p:spPr>
          <a:xfrm rot="7900080">
            <a:off x="7929283" y="1633794"/>
            <a:ext cx="342900" cy="357809"/>
          </a:xfrm>
          <a:prstGeom prst="up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2" name="箭头: 上 121">
            <a:extLst>
              <a:ext uri="{FF2B5EF4-FFF2-40B4-BE49-F238E27FC236}">
                <a16:creationId xmlns:a16="http://schemas.microsoft.com/office/drawing/2014/main" id="{95CF144D-3EE8-4CFD-99D3-1EB6D1CCD493}"/>
              </a:ext>
            </a:extLst>
          </p:cNvPr>
          <p:cNvSpPr/>
          <p:nvPr userDrawn="1"/>
        </p:nvSpPr>
        <p:spPr>
          <a:xfrm rot="9634989">
            <a:off x="8971005" y="3470476"/>
            <a:ext cx="342900" cy="357809"/>
          </a:xfrm>
          <a:prstGeom prst="up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3" name="矩形: 对角圆角 122">
            <a:extLst>
              <a:ext uri="{FF2B5EF4-FFF2-40B4-BE49-F238E27FC236}">
                <a16:creationId xmlns:a16="http://schemas.microsoft.com/office/drawing/2014/main" id="{FE5885D9-73E0-4911-A6B6-B8EB071C138C}"/>
              </a:ext>
            </a:extLst>
          </p:cNvPr>
          <p:cNvSpPr/>
          <p:nvPr userDrawn="1"/>
        </p:nvSpPr>
        <p:spPr>
          <a:xfrm>
            <a:off x="714636" y="4643804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4" name="文本占位符 6">
            <a:extLst>
              <a:ext uri="{FF2B5EF4-FFF2-40B4-BE49-F238E27FC236}">
                <a16:creationId xmlns:a16="http://schemas.microsoft.com/office/drawing/2014/main" id="{C4FD7A8A-BCB2-44FC-8585-538D805FC6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17707" y="4251374"/>
            <a:ext cx="2615197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5" name="文本占位符 6">
            <a:extLst>
              <a:ext uri="{FF2B5EF4-FFF2-40B4-BE49-F238E27FC236}">
                <a16:creationId xmlns:a16="http://schemas.microsoft.com/office/drawing/2014/main" id="{A3CB6BE4-B1DD-41E9-8D39-8B69DEF044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17707" y="4615056"/>
            <a:ext cx="2615197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6" name="文本占位符 6">
            <a:extLst>
              <a:ext uri="{FF2B5EF4-FFF2-40B4-BE49-F238E27FC236}">
                <a16:creationId xmlns:a16="http://schemas.microsoft.com/office/drawing/2014/main" id="{ACB10F2C-9A7B-4A74-A5CD-C8677A952B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0535" y="4124128"/>
            <a:ext cx="748923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1</a:t>
            </a:r>
            <a:endParaRPr lang="en-US" dirty="0"/>
          </a:p>
        </p:txBody>
      </p:sp>
      <p:cxnSp>
        <p:nvCxnSpPr>
          <p:cNvPr id="127" name="直接连接符 126">
            <a:extLst>
              <a:ext uri="{FF2B5EF4-FFF2-40B4-BE49-F238E27FC236}">
                <a16:creationId xmlns:a16="http://schemas.microsoft.com/office/drawing/2014/main" id="{C017C033-CF4F-4959-94DA-AB00382544E6}"/>
              </a:ext>
            </a:extLst>
          </p:cNvPr>
          <p:cNvCxnSpPr>
            <a:cxnSpLocks/>
          </p:cNvCxnSpPr>
          <p:nvPr userDrawn="1"/>
        </p:nvCxnSpPr>
        <p:spPr>
          <a:xfrm>
            <a:off x="1517707" y="4825922"/>
            <a:ext cx="261519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矩形: 对角圆角 127">
            <a:extLst>
              <a:ext uri="{FF2B5EF4-FFF2-40B4-BE49-F238E27FC236}">
                <a16:creationId xmlns:a16="http://schemas.microsoft.com/office/drawing/2014/main" id="{D6E3FA0B-3A5D-4AE8-8F28-13742635DD4B}"/>
              </a:ext>
            </a:extLst>
          </p:cNvPr>
          <p:cNvSpPr/>
          <p:nvPr userDrawn="1"/>
        </p:nvSpPr>
        <p:spPr>
          <a:xfrm>
            <a:off x="1588006" y="2798963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9" name="文本占位符 6">
            <a:extLst>
              <a:ext uri="{FF2B5EF4-FFF2-40B4-BE49-F238E27FC236}">
                <a16:creationId xmlns:a16="http://schemas.microsoft.com/office/drawing/2014/main" id="{01395E1F-E3FC-4941-BC46-0E03E1C1BE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91077" y="2406533"/>
            <a:ext cx="2615197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0" name="文本占位符 6">
            <a:extLst>
              <a:ext uri="{FF2B5EF4-FFF2-40B4-BE49-F238E27FC236}">
                <a16:creationId xmlns:a16="http://schemas.microsoft.com/office/drawing/2014/main" id="{22596562-8A06-4E4C-BF1B-8F53683C46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91077" y="2770215"/>
            <a:ext cx="2615197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1" name="文本占位符 6">
            <a:extLst>
              <a:ext uri="{FF2B5EF4-FFF2-40B4-BE49-F238E27FC236}">
                <a16:creationId xmlns:a16="http://schemas.microsoft.com/office/drawing/2014/main" id="{7EC1A993-C139-4C5E-AC0D-01257FC29C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16234" y="2279287"/>
            <a:ext cx="824265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2</a:t>
            </a:r>
            <a:endParaRPr lang="en-US" dirty="0"/>
          </a:p>
        </p:txBody>
      </p:sp>
      <p:cxnSp>
        <p:nvCxnSpPr>
          <p:cNvPr id="132" name="直接连接符 131">
            <a:extLst>
              <a:ext uri="{FF2B5EF4-FFF2-40B4-BE49-F238E27FC236}">
                <a16:creationId xmlns:a16="http://schemas.microsoft.com/office/drawing/2014/main" id="{B98CE751-DA20-4C00-AFBC-B071C583142E}"/>
              </a:ext>
            </a:extLst>
          </p:cNvPr>
          <p:cNvCxnSpPr>
            <a:cxnSpLocks/>
          </p:cNvCxnSpPr>
          <p:nvPr userDrawn="1"/>
        </p:nvCxnSpPr>
        <p:spPr>
          <a:xfrm>
            <a:off x="2391077" y="2981081"/>
            <a:ext cx="261519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矩形: 对角圆角 132">
            <a:extLst>
              <a:ext uri="{FF2B5EF4-FFF2-40B4-BE49-F238E27FC236}">
                <a16:creationId xmlns:a16="http://schemas.microsoft.com/office/drawing/2014/main" id="{4FB5B1CB-5941-41AD-B3B8-B72C2052A1E2}"/>
              </a:ext>
            </a:extLst>
          </p:cNvPr>
          <p:cNvSpPr/>
          <p:nvPr userDrawn="1"/>
        </p:nvSpPr>
        <p:spPr>
          <a:xfrm>
            <a:off x="4307759" y="1319507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34" name="文本占位符 6">
            <a:extLst>
              <a:ext uri="{FF2B5EF4-FFF2-40B4-BE49-F238E27FC236}">
                <a16:creationId xmlns:a16="http://schemas.microsoft.com/office/drawing/2014/main" id="{137904ED-3EFC-4227-B5FF-A3B1BF44F5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10830" y="927077"/>
            <a:ext cx="2615197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5" name="文本占位符 6">
            <a:extLst>
              <a:ext uri="{FF2B5EF4-FFF2-40B4-BE49-F238E27FC236}">
                <a16:creationId xmlns:a16="http://schemas.microsoft.com/office/drawing/2014/main" id="{015B7842-8785-4A21-A8BF-7A88F9FDE4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10830" y="1290759"/>
            <a:ext cx="2615197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6" name="文本占位符 6">
            <a:extLst>
              <a:ext uri="{FF2B5EF4-FFF2-40B4-BE49-F238E27FC236}">
                <a16:creationId xmlns:a16="http://schemas.microsoft.com/office/drawing/2014/main" id="{099316B1-3D42-4218-A78E-68D7B18D41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27171" y="799831"/>
            <a:ext cx="841897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3</a:t>
            </a:r>
            <a:endParaRPr lang="en-US" dirty="0"/>
          </a:p>
        </p:txBody>
      </p:sp>
      <p:cxnSp>
        <p:nvCxnSpPr>
          <p:cNvPr id="137" name="直接连接符 136">
            <a:extLst>
              <a:ext uri="{FF2B5EF4-FFF2-40B4-BE49-F238E27FC236}">
                <a16:creationId xmlns:a16="http://schemas.microsoft.com/office/drawing/2014/main" id="{0DE78F2E-9D10-4B5D-9BBF-169CDF93E33D}"/>
              </a:ext>
            </a:extLst>
          </p:cNvPr>
          <p:cNvCxnSpPr>
            <a:cxnSpLocks/>
          </p:cNvCxnSpPr>
          <p:nvPr userDrawn="1"/>
        </p:nvCxnSpPr>
        <p:spPr>
          <a:xfrm>
            <a:off x="5110830" y="1501625"/>
            <a:ext cx="261519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矩形: 对角圆角 137">
            <a:extLst>
              <a:ext uri="{FF2B5EF4-FFF2-40B4-BE49-F238E27FC236}">
                <a16:creationId xmlns:a16="http://schemas.microsoft.com/office/drawing/2014/main" id="{AEE3AFF7-9CE4-44F7-BA0F-3122191E7D5D}"/>
              </a:ext>
            </a:extLst>
          </p:cNvPr>
          <p:cNvSpPr/>
          <p:nvPr userDrawn="1"/>
        </p:nvSpPr>
        <p:spPr>
          <a:xfrm>
            <a:off x="7028752" y="2792730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39" name="文本占位符 6">
            <a:extLst>
              <a:ext uri="{FF2B5EF4-FFF2-40B4-BE49-F238E27FC236}">
                <a16:creationId xmlns:a16="http://schemas.microsoft.com/office/drawing/2014/main" id="{83EA905D-3B35-4DC9-A52F-F28743F0ADC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31823" y="2400300"/>
            <a:ext cx="2615197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0" name="文本占位符 6">
            <a:extLst>
              <a:ext uri="{FF2B5EF4-FFF2-40B4-BE49-F238E27FC236}">
                <a16:creationId xmlns:a16="http://schemas.microsoft.com/office/drawing/2014/main" id="{F664787B-D1EC-42CA-B03F-A2DE9C1C55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31823" y="2763982"/>
            <a:ext cx="2615197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1" name="文本占位符 6">
            <a:extLst>
              <a:ext uri="{FF2B5EF4-FFF2-40B4-BE49-F238E27FC236}">
                <a16:creationId xmlns:a16="http://schemas.microsoft.com/office/drawing/2014/main" id="{6F779487-2605-4030-973F-5419E05B1D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57782" y="2273054"/>
            <a:ext cx="822661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4</a:t>
            </a:r>
            <a:endParaRPr lang="en-US" dirty="0"/>
          </a:p>
        </p:txBody>
      </p:sp>
      <p:cxnSp>
        <p:nvCxnSpPr>
          <p:cNvPr id="142" name="直接连接符 141">
            <a:extLst>
              <a:ext uri="{FF2B5EF4-FFF2-40B4-BE49-F238E27FC236}">
                <a16:creationId xmlns:a16="http://schemas.microsoft.com/office/drawing/2014/main" id="{68AE0AA7-BC1C-4CD6-BD98-043067BC7EEF}"/>
              </a:ext>
            </a:extLst>
          </p:cNvPr>
          <p:cNvCxnSpPr>
            <a:cxnSpLocks/>
          </p:cNvCxnSpPr>
          <p:nvPr userDrawn="1"/>
        </p:nvCxnSpPr>
        <p:spPr>
          <a:xfrm>
            <a:off x="7831823" y="2974848"/>
            <a:ext cx="261519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矩形: 对角圆角 142">
            <a:extLst>
              <a:ext uri="{FF2B5EF4-FFF2-40B4-BE49-F238E27FC236}">
                <a16:creationId xmlns:a16="http://schemas.microsoft.com/office/drawing/2014/main" id="{C5925C72-80F8-4FDB-A196-435898D72FD7}"/>
              </a:ext>
            </a:extLst>
          </p:cNvPr>
          <p:cNvSpPr/>
          <p:nvPr userDrawn="1"/>
        </p:nvSpPr>
        <p:spPr>
          <a:xfrm>
            <a:off x="8152420" y="4674655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44" name="文本占位符 6">
            <a:extLst>
              <a:ext uri="{FF2B5EF4-FFF2-40B4-BE49-F238E27FC236}">
                <a16:creationId xmlns:a16="http://schemas.microsoft.com/office/drawing/2014/main" id="{4842ECEC-1B3D-4731-BD30-6F1B7A61870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5491" y="4282225"/>
            <a:ext cx="2615197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5" name="文本占位符 6">
            <a:extLst>
              <a:ext uri="{FF2B5EF4-FFF2-40B4-BE49-F238E27FC236}">
                <a16:creationId xmlns:a16="http://schemas.microsoft.com/office/drawing/2014/main" id="{835D6689-1A9F-4988-AEE3-B4AC4C83072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55491" y="4645907"/>
            <a:ext cx="2615197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6" name="文本占位符 6">
            <a:extLst>
              <a:ext uri="{FF2B5EF4-FFF2-40B4-BE49-F238E27FC236}">
                <a16:creationId xmlns:a16="http://schemas.microsoft.com/office/drawing/2014/main" id="{0C61CB2D-9831-45E4-835A-D95FBF8063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70229" y="4154979"/>
            <a:ext cx="845104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5</a:t>
            </a:r>
            <a:endParaRPr lang="en-US" dirty="0"/>
          </a:p>
        </p:txBody>
      </p:sp>
      <p:cxnSp>
        <p:nvCxnSpPr>
          <p:cNvPr id="147" name="直接连接符 146">
            <a:extLst>
              <a:ext uri="{FF2B5EF4-FFF2-40B4-BE49-F238E27FC236}">
                <a16:creationId xmlns:a16="http://schemas.microsoft.com/office/drawing/2014/main" id="{EBED2F20-4FC2-4164-83F9-CF3A1F214B60}"/>
              </a:ext>
            </a:extLst>
          </p:cNvPr>
          <p:cNvCxnSpPr>
            <a:cxnSpLocks/>
          </p:cNvCxnSpPr>
          <p:nvPr userDrawn="1"/>
        </p:nvCxnSpPr>
        <p:spPr>
          <a:xfrm>
            <a:off x="8955491" y="4856773"/>
            <a:ext cx="261519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63717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图片 62">
            <a:extLst>
              <a:ext uri="{FF2B5EF4-FFF2-40B4-BE49-F238E27FC236}">
                <a16:creationId xmlns:a16="http://schemas.microsoft.com/office/drawing/2014/main" id="{D2150255-3DBF-4592-92E4-D45E0EFF4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64" name="矩形 63">
            <a:extLst>
              <a:ext uri="{FF2B5EF4-FFF2-40B4-BE49-F238E27FC236}">
                <a16:creationId xmlns:a16="http://schemas.microsoft.com/office/drawing/2014/main" id="{B229A918-A7ED-4CBF-A93C-DCF671D85E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8F19B7F-65B9-4778-86D3-AB8EEFACE9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799" y="5151892"/>
            <a:ext cx="10264776" cy="334507"/>
          </a:xfrm>
        </p:spPr>
        <p:txBody>
          <a:bodyPr wrap="none"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3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7799" y="4219594"/>
            <a:ext cx="10264776" cy="923330"/>
          </a:xfrm>
        </p:spPr>
        <p:txBody>
          <a:bodyPr wrap="none"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gradFill flip="none" rotWithShape="1">
                  <a:gsLst>
                    <a:gs pos="100000">
                      <a:schemeClr val="accent1">
                        <a:lumMod val="75000"/>
                      </a:schemeClr>
                    </a:gs>
                    <a:gs pos="0">
                      <a:schemeClr val="accent1"/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67" name="图片 66">
            <a:extLst>
              <a:ext uri="{FF2B5EF4-FFF2-40B4-BE49-F238E27FC236}">
                <a16:creationId xmlns:a16="http://schemas.microsoft.com/office/drawing/2014/main" id="{AA6BCBDB-ECA3-4DAB-803A-3070B2E98F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" y="0"/>
            <a:ext cx="12191238" cy="3764280"/>
          </a:xfrm>
          <a:custGeom>
            <a:avLst/>
            <a:gdLst>
              <a:gd name="connsiteX0" fmla="*/ 0 w 12191238"/>
              <a:gd name="connsiteY0" fmla="*/ 0 h 3764280"/>
              <a:gd name="connsiteX1" fmla="*/ 12191238 w 12191238"/>
              <a:gd name="connsiteY1" fmla="*/ 0 h 3764280"/>
              <a:gd name="connsiteX2" fmla="*/ 12191238 w 12191238"/>
              <a:gd name="connsiteY2" fmla="*/ 3764280 h 3764280"/>
              <a:gd name="connsiteX3" fmla="*/ 0 w 12191238"/>
              <a:gd name="connsiteY3" fmla="*/ 3764280 h 3764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238" h="3764280">
                <a:moveTo>
                  <a:pt x="0" y="0"/>
                </a:moveTo>
                <a:lnTo>
                  <a:pt x="12191238" y="0"/>
                </a:lnTo>
                <a:lnTo>
                  <a:pt x="12191238" y="3764280"/>
                </a:lnTo>
                <a:lnTo>
                  <a:pt x="0" y="3764280"/>
                </a:lnTo>
                <a:close/>
              </a:path>
            </a:pathLst>
          </a:custGeom>
          <a:effectLst/>
        </p:spPr>
      </p:pic>
      <p:sp>
        <p:nvSpPr>
          <p:cNvPr id="68" name="矩形 67">
            <a:extLst>
              <a:ext uri="{FF2B5EF4-FFF2-40B4-BE49-F238E27FC236}">
                <a16:creationId xmlns:a16="http://schemas.microsoft.com/office/drawing/2014/main" id="{28D570EC-F191-4AD1-B987-9A19799D7470}"/>
              </a:ext>
            </a:extLst>
          </p:cNvPr>
          <p:cNvSpPr/>
          <p:nvPr userDrawn="1"/>
        </p:nvSpPr>
        <p:spPr>
          <a:xfrm flipV="1">
            <a:off x="0" y="0"/>
            <a:ext cx="12192000" cy="3764281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9" name="直接连接符 68">
            <a:extLst>
              <a:ext uri="{FF2B5EF4-FFF2-40B4-BE49-F238E27FC236}">
                <a16:creationId xmlns:a16="http://schemas.microsoft.com/office/drawing/2014/main" id="{4ED09219-FDE2-4A1D-B7EE-79B54EF8563D}"/>
              </a:ext>
            </a:extLst>
          </p:cNvPr>
          <p:cNvCxnSpPr/>
          <p:nvPr userDrawn="1"/>
        </p:nvCxnSpPr>
        <p:spPr>
          <a:xfrm>
            <a:off x="1447800" y="5964382"/>
            <a:ext cx="107442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矩形 168">
            <a:extLst>
              <a:ext uri="{FF2B5EF4-FFF2-40B4-BE49-F238E27FC236}">
                <a16:creationId xmlns:a16="http://schemas.microsoft.com/office/drawing/2014/main" id="{B386ACF2-3681-445B-AA55-6FE85831BDF6}"/>
              </a:ext>
            </a:extLst>
          </p:cNvPr>
          <p:cNvSpPr/>
          <p:nvPr userDrawn="1"/>
        </p:nvSpPr>
        <p:spPr>
          <a:xfrm>
            <a:off x="0" y="3616036"/>
            <a:ext cx="12192000" cy="14824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CC426674-671F-45E0-A88E-C44E775BDB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7801" y="1624519"/>
            <a:ext cx="2104811" cy="2320958"/>
          </a:xfrm>
        </p:spPr>
        <p:txBody>
          <a:bodyPr wrap="none" lIns="0" rIns="0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zh-CN" sz="16600" b="1" kern="1200" spc="600" dirty="0">
                <a:ln w="19050">
                  <a:gradFill>
                    <a:gsLst>
                      <a:gs pos="23000">
                        <a:schemeClr val="bg1"/>
                      </a:gs>
                      <a:gs pos="5600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17000">
                      <a:schemeClr val="bg1">
                        <a:alpha val="74000"/>
                      </a:schemeClr>
                    </a:gs>
                    <a:gs pos="58000">
                      <a:srgbClr val="FFFFFF">
                        <a:alpha val="24000"/>
                      </a:srgbClr>
                    </a:gs>
                    <a:gs pos="83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  <a:latin typeface="Impact" panose="020B080603090205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 altLang="zh-CN" dirty="0"/>
              <a:t>01</a:t>
            </a:r>
          </a:p>
        </p:txBody>
      </p:sp>
      <p:sp>
        <p:nvSpPr>
          <p:cNvPr id="171" name="矩形 170">
            <a:extLst>
              <a:ext uri="{FF2B5EF4-FFF2-40B4-BE49-F238E27FC236}">
                <a16:creationId xmlns:a16="http://schemas.microsoft.com/office/drawing/2014/main" id="{AA1B5E06-BF5C-48C1-A1FF-065AC3CFF919}"/>
              </a:ext>
            </a:extLst>
          </p:cNvPr>
          <p:cNvSpPr/>
          <p:nvPr userDrawn="1"/>
        </p:nvSpPr>
        <p:spPr>
          <a:xfrm>
            <a:off x="1447801" y="3616036"/>
            <a:ext cx="2104811" cy="14824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1" name="组合 160">
            <a:extLst>
              <a:ext uri="{FF2B5EF4-FFF2-40B4-BE49-F238E27FC236}">
                <a16:creationId xmlns:a16="http://schemas.microsoft.com/office/drawing/2014/main" id="{6AB6F889-8FFA-4913-A0A6-6914FD43D6A6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  <a:solidFill>
            <a:schemeClr val="bg1"/>
          </a:solidFill>
        </p:grpSpPr>
        <p:sp>
          <p:nvSpPr>
            <p:cNvPr id="162" name="Freeform 5">
              <a:extLst>
                <a:ext uri="{FF2B5EF4-FFF2-40B4-BE49-F238E27FC236}">
                  <a16:creationId xmlns:a16="http://schemas.microsoft.com/office/drawing/2014/main" id="{BEC3D301-5F4E-441C-A6AC-9D4B943AFF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7">
              <a:extLst>
                <a:ext uri="{FF2B5EF4-FFF2-40B4-BE49-F238E27FC236}">
                  <a16:creationId xmlns:a16="http://schemas.microsoft.com/office/drawing/2014/main" id="{258C7C9C-7EE7-4956-827B-B6CB4207A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8">
              <a:extLst>
                <a:ext uri="{FF2B5EF4-FFF2-40B4-BE49-F238E27FC236}">
                  <a16:creationId xmlns:a16="http://schemas.microsoft.com/office/drawing/2014/main" id="{639B802F-F1C0-4810-97C0-3A6466C99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65" name="组合 164">
              <a:extLst>
                <a:ext uri="{FF2B5EF4-FFF2-40B4-BE49-F238E27FC236}">
                  <a16:creationId xmlns:a16="http://schemas.microsoft.com/office/drawing/2014/main" id="{0F9B9E2B-877E-41DA-B2D0-D732CFE5DDBD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  <a:grpFill/>
          </p:grpSpPr>
          <p:sp>
            <p:nvSpPr>
              <p:cNvPr id="208" name="Freeform 6">
                <a:extLst>
                  <a:ext uri="{FF2B5EF4-FFF2-40B4-BE49-F238E27FC236}">
                    <a16:creationId xmlns:a16="http://schemas.microsoft.com/office/drawing/2014/main" id="{B53DC25A-9830-4C4A-8403-94212D8061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10">
                <a:extLst>
                  <a:ext uri="{FF2B5EF4-FFF2-40B4-BE49-F238E27FC236}">
                    <a16:creationId xmlns:a16="http://schemas.microsoft.com/office/drawing/2014/main" id="{47590841-8CC2-4737-A2C8-BED9FCD95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13">
                <a:extLst>
                  <a:ext uri="{FF2B5EF4-FFF2-40B4-BE49-F238E27FC236}">
                    <a16:creationId xmlns:a16="http://schemas.microsoft.com/office/drawing/2014/main" id="{3A62C6CB-E697-4CAF-92F5-3E41118F2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6" name="组合 165">
              <a:extLst>
                <a:ext uri="{FF2B5EF4-FFF2-40B4-BE49-F238E27FC236}">
                  <a16:creationId xmlns:a16="http://schemas.microsoft.com/office/drawing/2014/main" id="{B388D4A8-AF7C-4FAE-9C35-06EA35DC06E0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  <a:grpFill/>
          </p:grpSpPr>
          <p:sp>
            <p:nvSpPr>
              <p:cNvPr id="203" name="Freeform 9">
                <a:extLst>
                  <a:ext uri="{FF2B5EF4-FFF2-40B4-BE49-F238E27FC236}">
                    <a16:creationId xmlns:a16="http://schemas.microsoft.com/office/drawing/2014/main" id="{561333E8-E464-4678-9746-DEE703AC23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11">
                <a:extLst>
                  <a:ext uri="{FF2B5EF4-FFF2-40B4-BE49-F238E27FC236}">
                    <a16:creationId xmlns:a16="http://schemas.microsoft.com/office/drawing/2014/main" id="{B71E665C-8F31-4301-A125-7C15251D69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12">
                <a:extLst>
                  <a:ext uri="{FF2B5EF4-FFF2-40B4-BE49-F238E27FC236}">
                    <a16:creationId xmlns:a16="http://schemas.microsoft.com/office/drawing/2014/main" id="{5ACAFB95-8368-4FE1-A54D-76657D45A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14">
                <a:extLst>
                  <a:ext uri="{FF2B5EF4-FFF2-40B4-BE49-F238E27FC236}">
                    <a16:creationId xmlns:a16="http://schemas.microsoft.com/office/drawing/2014/main" id="{E71E4200-FDB9-4CCA-9316-C1F737F65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15">
                <a:extLst>
                  <a:ext uri="{FF2B5EF4-FFF2-40B4-BE49-F238E27FC236}">
                    <a16:creationId xmlns:a16="http://schemas.microsoft.com/office/drawing/2014/main" id="{C3144D23-D4CE-4C4D-8D22-08DACDAC9E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7" name="Freeform 16">
              <a:extLst>
                <a:ext uri="{FF2B5EF4-FFF2-40B4-BE49-F238E27FC236}">
                  <a16:creationId xmlns:a16="http://schemas.microsoft.com/office/drawing/2014/main" id="{FCBD6B59-EE10-4BAF-B2C9-85DD62C48F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7">
              <a:extLst>
                <a:ext uri="{FF2B5EF4-FFF2-40B4-BE49-F238E27FC236}">
                  <a16:creationId xmlns:a16="http://schemas.microsoft.com/office/drawing/2014/main" id="{0FA717CB-C430-43E6-9665-A1800501AF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Oval 18">
              <a:extLst>
                <a:ext uri="{FF2B5EF4-FFF2-40B4-BE49-F238E27FC236}">
                  <a16:creationId xmlns:a16="http://schemas.microsoft.com/office/drawing/2014/main" id="{48A92B32-941F-40DF-B605-82661467C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9">
              <a:extLst>
                <a:ext uri="{FF2B5EF4-FFF2-40B4-BE49-F238E27FC236}">
                  <a16:creationId xmlns:a16="http://schemas.microsoft.com/office/drawing/2014/main" id="{A71A76A7-ABBA-42E7-9DC6-960CE77E9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20">
              <a:extLst>
                <a:ext uri="{FF2B5EF4-FFF2-40B4-BE49-F238E27FC236}">
                  <a16:creationId xmlns:a16="http://schemas.microsoft.com/office/drawing/2014/main" id="{727EA721-6DB6-42E0-84DF-40EBF5E81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21">
              <a:extLst>
                <a:ext uri="{FF2B5EF4-FFF2-40B4-BE49-F238E27FC236}">
                  <a16:creationId xmlns:a16="http://schemas.microsoft.com/office/drawing/2014/main" id="{BA802AD1-7002-4DCB-B6FD-846374C45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22">
              <a:extLst>
                <a:ext uri="{FF2B5EF4-FFF2-40B4-BE49-F238E27FC236}">
                  <a16:creationId xmlns:a16="http://schemas.microsoft.com/office/drawing/2014/main" id="{459ED3AC-1C15-4714-91ED-D5DF4627A7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23">
              <a:extLst>
                <a:ext uri="{FF2B5EF4-FFF2-40B4-BE49-F238E27FC236}">
                  <a16:creationId xmlns:a16="http://schemas.microsoft.com/office/drawing/2014/main" id="{9E01D7CA-5C91-4C21-AA94-64FF1198B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24">
              <a:extLst>
                <a:ext uri="{FF2B5EF4-FFF2-40B4-BE49-F238E27FC236}">
                  <a16:creationId xmlns:a16="http://schemas.microsoft.com/office/drawing/2014/main" id="{CC26CBF6-B5AA-49D5-B415-478145B01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25">
              <a:extLst>
                <a:ext uri="{FF2B5EF4-FFF2-40B4-BE49-F238E27FC236}">
                  <a16:creationId xmlns:a16="http://schemas.microsoft.com/office/drawing/2014/main" id="{5DA6934D-7E14-427D-93FA-FDF42E19B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26">
              <a:extLst>
                <a:ext uri="{FF2B5EF4-FFF2-40B4-BE49-F238E27FC236}">
                  <a16:creationId xmlns:a16="http://schemas.microsoft.com/office/drawing/2014/main" id="{7FF1BE91-D63A-411E-9522-499E783AC5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27">
              <a:extLst>
                <a:ext uri="{FF2B5EF4-FFF2-40B4-BE49-F238E27FC236}">
                  <a16:creationId xmlns:a16="http://schemas.microsoft.com/office/drawing/2014/main" id="{97DD8889-C1F6-42DC-AE46-0061501A7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28">
              <a:extLst>
                <a:ext uri="{FF2B5EF4-FFF2-40B4-BE49-F238E27FC236}">
                  <a16:creationId xmlns:a16="http://schemas.microsoft.com/office/drawing/2014/main" id="{F00656E9-415F-40EC-A738-6C967A22B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29">
              <a:extLst>
                <a:ext uri="{FF2B5EF4-FFF2-40B4-BE49-F238E27FC236}">
                  <a16:creationId xmlns:a16="http://schemas.microsoft.com/office/drawing/2014/main" id="{379D269F-B521-4100-AC4F-9AF0B656D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30">
              <a:extLst>
                <a:ext uri="{FF2B5EF4-FFF2-40B4-BE49-F238E27FC236}">
                  <a16:creationId xmlns:a16="http://schemas.microsoft.com/office/drawing/2014/main" id="{B651DA40-FB7D-489F-B526-C7167BE08E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1">
              <a:extLst>
                <a:ext uri="{FF2B5EF4-FFF2-40B4-BE49-F238E27FC236}">
                  <a16:creationId xmlns:a16="http://schemas.microsoft.com/office/drawing/2014/main" id="{F8E17ED3-6801-4D66-A6D4-3EB37E977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2">
              <a:extLst>
                <a:ext uri="{FF2B5EF4-FFF2-40B4-BE49-F238E27FC236}">
                  <a16:creationId xmlns:a16="http://schemas.microsoft.com/office/drawing/2014/main" id="{89B8CDC7-1BFB-44CE-B8AB-8ED4CEF17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3">
              <a:extLst>
                <a:ext uri="{FF2B5EF4-FFF2-40B4-BE49-F238E27FC236}">
                  <a16:creationId xmlns:a16="http://schemas.microsoft.com/office/drawing/2014/main" id="{1A4C3D51-F22C-4355-A05D-E787D65A9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4">
              <a:extLst>
                <a:ext uri="{FF2B5EF4-FFF2-40B4-BE49-F238E27FC236}">
                  <a16:creationId xmlns:a16="http://schemas.microsoft.com/office/drawing/2014/main" id="{8CBE9550-BE45-448A-8EDC-ECE2E4BB7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5">
              <a:extLst>
                <a:ext uri="{FF2B5EF4-FFF2-40B4-BE49-F238E27FC236}">
                  <a16:creationId xmlns:a16="http://schemas.microsoft.com/office/drawing/2014/main" id="{47B9E981-3041-41F6-A901-6675B9C01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6">
              <a:extLst>
                <a:ext uri="{FF2B5EF4-FFF2-40B4-BE49-F238E27FC236}">
                  <a16:creationId xmlns:a16="http://schemas.microsoft.com/office/drawing/2014/main" id="{AF11950B-ED7C-49C7-A468-AB39F5CC2E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7">
              <a:extLst>
                <a:ext uri="{FF2B5EF4-FFF2-40B4-BE49-F238E27FC236}">
                  <a16:creationId xmlns:a16="http://schemas.microsoft.com/office/drawing/2014/main" id="{3829AFA6-C930-422C-B89D-8491B932FD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8">
              <a:extLst>
                <a:ext uri="{FF2B5EF4-FFF2-40B4-BE49-F238E27FC236}">
                  <a16:creationId xmlns:a16="http://schemas.microsoft.com/office/drawing/2014/main" id="{6EC04688-6E56-4DE6-8050-ECDC18CB5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9">
              <a:extLst>
                <a:ext uri="{FF2B5EF4-FFF2-40B4-BE49-F238E27FC236}">
                  <a16:creationId xmlns:a16="http://schemas.microsoft.com/office/drawing/2014/main" id="{A2EFC4D7-FF9F-4FE4-856A-04125EB29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40">
              <a:extLst>
                <a:ext uri="{FF2B5EF4-FFF2-40B4-BE49-F238E27FC236}">
                  <a16:creationId xmlns:a16="http://schemas.microsoft.com/office/drawing/2014/main" id="{8B220414-ACC2-4260-BA87-AF5A7D2B8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41">
              <a:extLst>
                <a:ext uri="{FF2B5EF4-FFF2-40B4-BE49-F238E27FC236}">
                  <a16:creationId xmlns:a16="http://schemas.microsoft.com/office/drawing/2014/main" id="{B9C99CF3-22B1-4343-9461-E8AADC50F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42">
              <a:extLst>
                <a:ext uri="{FF2B5EF4-FFF2-40B4-BE49-F238E27FC236}">
                  <a16:creationId xmlns:a16="http://schemas.microsoft.com/office/drawing/2014/main" id="{3E1A315B-7EE9-4447-9D38-D913FEBBD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43">
              <a:extLst>
                <a:ext uri="{FF2B5EF4-FFF2-40B4-BE49-F238E27FC236}">
                  <a16:creationId xmlns:a16="http://schemas.microsoft.com/office/drawing/2014/main" id="{AE6AE107-109E-4EEA-823B-301A183AE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4">
              <a:extLst>
                <a:ext uri="{FF2B5EF4-FFF2-40B4-BE49-F238E27FC236}">
                  <a16:creationId xmlns:a16="http://schemas.microsoft.com/office/drawing/2014/main" id="{5BCF18A3-5A73-4A42-8BC7-D72A9243D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45">
              <a:extLst>
                <a:ext uri="{FF2B5EF4-FFF2-40B4-BE49-F238E27FC236}">
                  <a16:creationId xmlns:a16="http://schemas.microsoft.com/office/drawing/2014/main" id="{220DCE83-D451-4E1E-BD4E-22B564D8B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46">
              <a:extLst>
                <a:ext uri="{FF2B5EF4-FFF2-40B4-BE49-F238E27FC236}">
                  <a16:creationId xmlns:a16="http://schemas.microsoft.com/office/drawing/2014/main" id="{36235F0D-B53A-413B-8E33-8C338ADC2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47">
              <a:extLst>
                <a:ext uri="{FF2B5EF4-FFF2-40B4-BE49-F238E27FC236}">
                  <a16:creationId xmlns:a16="http://schemas.microsoft.com/office/drawing/2014/main" id="{F54388E0-DBA8-4B8F-8743-0A351A81D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48">
              <a:extLst>
                <a:ext uri="{FF2B5EF4-FFF2-40B4-BE49-F238E27FC236}">
                  <a16:creationId xmlns:a16="http://schemas.microsoft.com/office/drawing/2014/main" id="{A2D228CA-68B2-4F6C-B2B4-F467C0252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49">
              <a:extLst>
                <a:ext uri="{FF2B5EF4-FFF2-40B4-BE49-F238E27FC236}">
                  <a16:creationId xmlns:a16="http://schemas.microsoft.com/office/drawing/2014/main" id="{5F84968F-C704-465A-93B7-6859F3297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401228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图片 60">
            <a:extLst>
              <a:ext uri="{FF2B5EF4-FFF2-40B4-BE49-F238E27FC236}">
                <a16:creationId xmlns:a16="http://schemas.microsoft.com/office/drawing/2014/main" id="{A1DBBD9B-3C95-4A77-B3B4-7445485D0E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3" name="副标题 2">
            <a:extLst>
              <a:ext uri="{FF2B5EF4-FFF2-40B4-BE49-F238E27FC236}">
                <a16:creationId xmlns:a16="http://schemas.microsoft.com/office/drawing/2014/main" id="{58F19B7F-65B9-4778-86D3-AB8EEFACE9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16868" y="4708197"/>
            <a:ext cx="8158264" cy="331948"/>
          </a:xfrm>
        </p:spPr>
        <p:txBody>
          <a:bodyPr wrap="none"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16868" y="3775898"/>
            <a:ext cx="8158264" cy="923330"/>
          </a:xfrm>
        </p:spPr>
        <p:txBody>
          <a:bodyPr wrap="none"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accent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cxnSp>
        <p:nvCxnSpPr>
          <p:cNvPr id="166" name="直接连接符 165">
            <a:extLst>
              <a:ext uri="{FF2B5EF4-FFF2-40B4-BE49-F238E27FC236}">
                <a16:creationId xmlns:a16="http://schemas.microsoft.com/office/drawing/2014/main" id="{D82E43AD-7448-4382-BF84-778C64343A8E}"/>
              </a:ext>
            </a:extLst>
          </p:cNvPr>
          <p:cNvCxnSpPr>
            <a:cxnSpLocks/>
          </p:cNvCxnSpPr>
          <p:nvPr userDrawn="1"/>
        </p:nvCxnSpPr>
        <p:spPr>
          <a:xfrm>
            <a:off x="2049780" y="5551166"/>
            <a:ext cx="809244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754E77EE-1098-4B2C-B937-5F8AF1F7F2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54993" y="1215475"/>
            <a:ext cx="2282014" cy="2646878"/>
          </a:xfrm>
        </p:spPr>
        <p:txBody>
          <a:bodyPr vert="horz" wrap="none" lIns="0" tIns="0" rIns="0" bIns="0" rtlCol="0" anchor="ctr" anchorCtr="0">
            <a:noAutofit/>
          </a:bodyPr>
          <a:lstStyle>
            <a:lvl1pPr>
              <a:defRPr lang="en-US" altLang="zh-CN" sz="16600" b="1" spc="600" dirty="0">
                <a:ln w="19050">
                  <a:gradFill>
                    <a:gsLst>
                      <a:gs pos="23000">
                        <a:schemeClr val="bg1"/>
                      </a:gs>
                      <a:gs pos="5600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5400000" scaled="1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Impact" panose="020B0806030902050204" pitchFamily="34" charset="0"/>
              </a:defRPr>
            </a:lvl1pPr>
          </a:lstStyle>
          <a:p>
            <a:pPr lvl="0" algn="ctr" defTabSz="457200">
              <a:lnSpc>
                <a:spcPct val="100000"/>
              </a:lnSpc>
              <a:spcBef>
                <a:spcPts val="0"/>
              </a:spcBef>
              <a:buFontTx/>
            </a:pPr>
            <a:r>
              <a:rPr lang="en-US" altLang="zh-CN" dirty="0"/>
              <a:t>01</a:t>
            </a:r>
          </a:p>
        </p:txBody>
      </p:sp>
      <p:cxnSp>
        <p:nvCxnSpPr>
          <p:cNvPr id="168" name="直接连接符 167">
            <a:extLst>
              <a:ext uri="{FF2B5EF4-FFF2-40B4-BE49-F238E27FC236}">
                <a16:creationId xmlns:a16="http://schemas.microsoft.com/office/drawing/2014/main" id="{7DC1A0A8-B3A3-43AF-8E6A-BBBDC932C8C6}"/>
              </a:ext>
            </a:extLst>
          </p:cNvPr>
          <p:cNvCxnSpPr/>
          <p:nvPr userDrawn="1"/>
        </p:nvCxnSpPr>
        <p:spPr>
          <a:xfrm>
            <a:off x="5612102" y="3681007"/>
            <a:ext cx="967796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组合 169">
            <a:extLst>
              <a:ext uri="{FF2B5EF4-FFF2-40B4-BE49-F238E27FC236}">
                <a16:creationId xmlns:a16="http://schemas.microsoft.com/office/drawing/2014/main" id="{C0549BA9-9A41-4046-8613-BB73DADA1B3A}"/>
              </a:ext>
            </a:extLst>
          </p:cNvPr>
          <p:cNvGrpSpPr/>
          <p:nvPr userDrawn="1"/>
        </p:nvGrpSpPr>
        <p:grpSpPr>
          <a:xfrm>
            <a:off x="5806353" y="-1"/>
            <a:ext cx="579293" cy="751263"/>
            <a:chOff x="5820641" y="-1"/>
            <a:chExt cx="579293" cy="751263"/>
          </a:xfrm>
        </p:grpSpPr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55E8B9C4-4B2D-4A9C-B283-19E92CDD69FA}"/>
                </a:ext>
              </a:extLst>
            </p:cNvPr>
            <p:cNvSpPr/>
            <p:nvPr/>
          </p:nvSpPr>
          <p:spPr>
            <a:xfrm>
              <a:off x="5820641" y="-1"/>
              <a:ext cx="550718" cy="716973"/>
            </a:xfrm>
            <a:custGeom>
              <a:avLst/>
              <a:gdLst>
                <a:gd name="connsiteX0" fmla="*/ 0 w 550718"/>
                <a:gd name="connsiteY0" fmla="*/ 0 h 636270"/>
                <a:gd name="connsiteX1" fmla="*/ 550718 w 550718"/>
                <a:gd name="connsiteY1" fmla="*/ 0 h 636270"/>
                <a:gd name="connsiteX2" fmla="*/ 550718 w 550718"/>
                <a:gd name="connsiteY2" fmla="*/ 636270 h 636270"/>
                <a:gd name="connsiteX3" fmla="*/ 332814 w 550718"/>
                <a:gd name="connsiteY3" fmla="*/ 636270 h 636270"/>
                <a:gd name="connsiteX4" fmla="*/ 275359 w 550718"/>
                <a:gd name="connsiteY4" fmla="*/ 537210 h 636270"/>
                <a:gd name="connsiteX5" fmla="*/ 217904 w 550718"/>
                <a:gd name="connsiteY5" fmla="*/ 636270 h 636270"/>
                <a:gd name="connsiteX6" fmla="*/ 0 w 550718"/>
                <a:gd name="connsiteY6" fmla="*/ 636270 h 63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18" h="636270">
                  <a:moveTo>
                    <a:pt x="0" y="0"/>
                  </a:moveTo>
                  <a:lnTo>
                    <a:pt x="550718" y="0"/>
                  </a:lnTo>
                  <a:lnTo>
                    <a:pt x="550718" y="636270"/>
                  </a:lnTo>
                  <a:lnTo>
                    <a:pt x="332814" y="636270"/>
                  </a:lnTo>
                  <a:lnTo>
                    <a:pt x="275359" y="537210"/>
                  </a:lnTo>
                  <a:lnTo>
                    <a:pt x="217904" y="636270"/>
                  </a:lnTo>
                  <a:lnTo>
                    <a:pt x="0" y="636270"/>
                  </a:lnTo>
                  <a:close/>
                </a:path>
              </a:pathLst>
            </a:cu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BF02A7FE-74A8-483D-A6C9-DEBE5030602A}"/>
                </a:ext>
              </a:extLst>
            </p:cNvPr>
            <p:cNvSpPr/>
            <p:nvPr/>
          </p:nvSpPr>
          <p:spPr>
            <a:xfrm>
              <a:off x="5849216" y="-1"/>
              <a:ext cx="550718" cy="751263"/>
            </a:xfrm>
            <a:custGeom>
              <a:avLst/>
              <a:gdLst>
                <a:gd name="connsiteX0" fmla="*/ 0 w 550718"/>
                <a:gd name="connsiteY0" fmla="*/ 0 h 751263"/>
                <a:gd name="connsiteX1" fmla="*/ 550718 w 550718"/>
                <a:gd name="connsiteY1" fmla="*/ 0 h 751263"/>
                <a:gd name="connsiteX2" fmla="*/ 550718 w 550718"/>
                <a:gd name="connsiteY2" fmla="*/ 34290 h 751263"/>
                <a:gd name="connsiteX3" fmla="*/ 550718 w 550718"/>
                <a:gd name="connsiteY3" fmla="*/ 97155 h 751263"/>
                <a:gd name="connsiteX4" fmla="*/ 550718 w 550718"/>
                <a:gd name="connsiteY4" fmla="*/ 751263 h 751263"/>
                <a:gd name="connsiteX5" fmla="*/ 332814 w 550718"/>
                <a:gd name="connsiteY5" fmla="*/ 751263 h 751263"/>
                <a:gd name="connsiteX6" fmla="*/ 275359 w 550718"/>
                <a:gd name="connsiteY6" fmla="*/ 639638 h 751263"/>
                <a:gd name="connsiteX7" fmla="*/ 217904 w 550718"/>
                <a:gd name="connsiteY7" fmla="*/ 751263 h 751263"/>
                <a:gd name="connsiteX8" fmla="*/ 0 w 550718"/>
                <a:gd name="connsiteY8" fmla="*/ 751263 h 751263"/>
                <a:gd name="connsiteX9" fmla="*/ 0 w 550718"/>
                <a:gd name="connsiteY9" fmla="*/ 97155 h 751263"/>
                <a:gd name="connsiteX10" fmla="*/ 0 w 550718"/>
                <a:gd name="connsiteY10" fmla="*/ 34290 h 751263"/>
                <a:gd name="connsiteX0" fmla="*/ 0 w 550718"/>
                <a:gd name="connsiteY0" fmla="*/ 15239 h 766502"/>
                <a:gd name="connsiteX1" fmla="*/ 471574 w 550718"/>
                <a:gd name="connsiteY1" fmla="*/ 0 h 766502"/>
                <a:gd name="connsiteX2" fmla="*/ 550718 w 550718"/>
                <a:gd name="connsiteY2" fmla="*/ 15239 h 766502"/>
                <a:gd name="connsiteX3" fmla="*/ 550718 w 550718"/>
                <a:gd name="connsiteY3" fmla="*/ 49529 h 766502"/>
                <a:gd name="connsiteX4" fmla="*/ 550718 w 550718"/>
                <a:gd name="connsiteY4" fmla="*/ 112394 h 766502"/>
                <a:gd name="connsiteX5" fmla="*/ 550718 w 550718"/>
                <a:gd name="connsiteY5" fmla="*/ 766502 h 766502"/>
                <a:gd name="connsiteX6" fmla="*/ 332814 w 550718"/>
                <a:gd name="connsiteY6" fmla="*/ 766502 h 766502"/>
                <a:gd name="connsiteX7" fmla="*/ 275359 w 550718"/>
                <a:gd name="connsiteY7" fmla="*/ 654877 h 766502"/>
                <a:gd name="connsiteX8" fmla="*/ 217904 w 550718"/>
                <a:gd name="connsiteY8" fmla="*/ 766502 h 766502"/>
                <a:gd name="connsiteX9" fmla="*/ 0 w 550718"/>
                <a:gd name="connsiteY9" fmla="*/ 766502 h 766502"/>
                <a:gd name="connsiteX10" fmla="*/ 0 w 550718"/>
                <a:gd name="connsiteY10" fmla="*/ 112394 h 766502"/>
                <a:gd name="connsiteX11" fmla="*/ 0 w 550718"/>
                <a:gd name="connsiteY11" fmla="*/ 49529 h 766502"/>
                <a:gd name="connsiteX12" fmla="*/ 0 w 550718"/>
                <a:gd name="connsiteY12" fmla="*/ 15239 h 766502"/>
                <a:gd name="connsiteX0" fmla="*/ 471574 w 563014"/>
                <a:gd name="connsiteY0" fmla="*/ 0 h 766502"/>
                <a:gd name="connsiteX1" fmla="*/ 550718 w 563014"/>
                <a:gd name="connsiteY1" fmla="*/ 15239 h 766502"/>
                <a:gd name="connsiteX2" fmla="*/ 550718 w 563014"/>
                <a:gd name="connsiteY2" fmla="*/ 49529 h 766502"/>
                <a:gd name="connsiteX3" fmla="*/ 550718 w 563014"/>
                <a:gd name="connsiteY3" fmla="*/ 112394 h 766502"/>
                <a:gd name="connsiteX4" fmla="*/ 550718 w 563014"/>
                <a:gd name="connsiteY4" fmla="*/ 766502 h 766502"/>
                <a:gd name="connsiteX5" fmla="*/ 332814 w 563014"/>
                <a:gd name="connsiteY5" fmla="*/ 766502 h 766502"/>
                <a:gd name="connsiteX6" fmla="*/ 275359 w 563014"/>
                <a:gd name="connsiteY6" fmla="*/ 654877 h 766502"/>
                <a:gd name="connsiteX7" fmla="*/ 217904 w 563014"/>
                <a:gd name="connsiteY7" fmla="*/ 766502 h 766502"/>
                <a:gd name="connsiteX8" fmla="*/ 0 w 563014"/>
                <a:gd name="connsiteY8" fmla="*/ 766502 h 766502"/>
                <a:gd name="connsiteX9" fmla="*/ 0 w 563014"/>
                <a:gd name="connsiteY9" fmla="*/ 112394 h 766502"/>
                <a:gd name="connsiteX10" fmla="*/ 0 w 563014"/>
                <a:gd name="connsiteY10" fmla="*/ 49529 h 766502"/>
                <a:gd name="connsiteX11" fmla="*/ 0 w 563014"/>
                <a:gd name="connsiteY11" fmla="*/ 15239 h 766502"/>
                <a:gd name="connsiteX12" fmla="*/ 563014 w 563014"/>
                <a:gd name="connsiteY12" fmla="*/ 91440 h 766502"/>
                <a:gd name="connsiteX0" fmla="*/ 550718 w 563014"/>
                <a:gd name="connsiteY0" fmla="*/ 1132 h 752395"/>
                <a:gd name="connsiteX1" fmla="*/ 550718 w 563014"/>
                <a:gd name="connsiteY1" fmla="*/ 35422 h 752395"/>
                <a:gd name="connsiteX2" fmla="*/ 550718 w 563014"/>
                <a:gd name="connsiteY2" fmla="*/ 98287 h 752395"/>
                <a:gd name="connsiteX3" fmla="*/ 550718 w 563014"/>
                <a:gd name="connsiteY3" fmla="*/ 752395 h 752395"/>
                <a:gd name="connsiteX4" fmla="*/ 332814 w 563014"/>
                <a:gd name="connsiteY4" fmla="*/ 752395 h 752395"/>
                <a:gd name="connsiteX5" fmla="*/ 275359 w 563014"/>
                <a:gd name="connsiteY5" fmla="*/ 640770 h 752395"/>
                <a:gd name="connsiteX6" fmla="*/ 217904 w 563014"/>
                <a:gd name="connsiteY6" fmla="*/ 752395 h 752395"/>
                <a:gd name="connsiteX7" fmla="*/ 0 w 563014"/>
                <a:gd name="connsiteY7" fmla="*/ 752395 h 752395"/>
                <a:gd name="connsiteX8" fmla="*/ 0 w 563014"/>
                <a:gd name="connsiteY8" fmla="*/ 98287 h 752395"/>
                <a:gd name="connsiteX9" fmla="*/ 0 w 563014"/>
                <a:gd name="connsiteY9" fmla="*/ 35422 h 752395"/>
                <a:gd name="connsiteX10" fmla="*/ 0 w 563014"/>
                <a:gd name="connsiteY10" fmla="*/ 1132 h 752395"/>
                <a:gd name="connsiteX11" fmla="*/ 563014 w 563014"/>
                <a:gd name="connsiteY11" fmla="*/ 77333 h 752395"/>
                <a:gd name="connsiteX0" fmla="*/ 550718 w 550718"/>
                <a:gd name="connsiteY0" fmla="*/ 0 h 751263"/>
                <a:gd name="connsiteX1" fmla="*/ 550718 w 550718"/>
                <a:gd name="connsiteY1" fmla="*/ 34290 h 751263"/>
                <a:gd name="connsiteX2" fmla="*/ 550718 w 550718"/>
                <a:gd name="connsiteY2" fmla="*/ 97155 h 751263"/>
                <a:gd name="connsiteX3" fmla="*/ 550718 w 550718"/>
                <a:gd name="connsiteY3" fmla="*/ 751263 h 751263"/>
                <a:gd name="connsiteX4" fmla="*/ 332814 w 550718"/>
                <a:gd name="connsiteY4" fmla="*/ 751263 h 751263"/>
                <a:gd name="connsiteX5" fmla="*/ 275359 w 550718"/>
                <a:gd name="connsiteY5" fmla="*/ 639638 h 751263"/>
                <a:gd name="connsiteX6" fmla="*/ 217904 w 550718"/>
                <a:gd name="connsiteY6" fmla="*/ 751263 h 751263"/>
                <a:gd name="connsiteX7" fmla="*/ 0 w 550718"/>
                <a:gd name="connsiteY7" fmla="*/ 751263 h 751263"/>
                <a:gd name="connsiteX8" fmla="*/ 0 w 550718"/>
                <a:gd name="connsiteY8" fmla="*/ 97155 h 751263"/>
                <a:gd name="connsiteX9" fmla="*/ 0 w 550718"/>
                <a:gd name="connsiteY9" fmla="*/ 34290 h 751263"/>
                <a:gd name="connsiteX10" fmla="*/ 0 w 550718"/>
                <a:gd name="connsiteY10" fmla="*/ 0 h 751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0718" h="751263">
                  <a:moveTo>
                    <a:pt x="550718" y="0"/>
                  </a:moveTo>
                  <a:lnTo>
                    <a:pt x="550718" y="34290"/>
                  </a:lnTo>
                  <a:lnTo>
                    <a:pt x="550718" y="97155"/>
                  </a:lnTo>
                  <a:lnTo>
                    <a:pt x="550718" y="751263"/>
                  </a:lnTo>
                  <a:lnTo>
                    <a:pt x="332814" y="751263"/>
                  </a:lnTo>
                  <a:lnTo>
                    <a:pt x="275359" y="639638"/>
                  </a:lnTo>
                  <a:lnTo>
                    <a:pt x="217904" y="751263"/>
                  </a:lnTo>
                  <a:lnTo>
                    <a:pt x="0" y="751263"/>
                  </a:lnTo>
                  <a:lnTo>
                    <a:pt x="0" y="97155"/>
                  </a:lnTo>
                  <a:lnTo>
                    <a:pt x="0" y="34290"/>
                  </a:lnTo>
                  <a:lnTo>
                    <a:pt x="0" y="0"/>
                  </a:lnTo>
                </a:path>
              </a:pathLst>
            </a:cu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组合 68">
            <a:extLst>
              <a:ext uri="{FF2B5EF4-FFF2-40B4-BE49-F238E27FC236}">
                <a16:creationId xmlns:a16="http://schemas.microsoft.com/office/drawing/2014/main" id="{2DD2F971-E1F9-46A7-8530-82C7B07601A1}"/>
              </a:ext>
            </a:extLst>
          </p:cNvPr>
          <p:cNvGrpSpPr/>
          <p:nvPr userDrawn="1"/>
        </p:nvGrpSpPr>
        <p:grpSpPr>
          <a:xfrm>
            <a:off x="8431598" y="0"/>
            <a:ext cx="3760402" cy="4528788"/>
            <a:chOff x="8431598" y="0"/>
            <a:chExt cx="3760402" cy="4528788"/>
          </a:xfrm>
        </p:grpSpPr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B82B7E0D-9870-45C2-9DE7-82A9A891247B}"/>
                </a:ext>
              </a:extLst>
            </p:cNvPr>
            <p:cNvSpPr/>
            <p:nvPr/>
          </p:nvSpPr>
          <p:spPr>
            <a:xfrm>
              <a:off x="10434932" y="0"/>
              <a:ext cx="1757068" cy="4528788"/>
            </a:xfrm>
            <a:custGeom>
              <a:avLst/>
              <a:gdLst>
                <a:gd name="connsiteX0" fmla="*/ 1273576 w 1757068"/>
                <a:gd name="connsiteY0" fmla="*/ 0 h 4528788"/>
                <a:gd name="connsiteX1" fmla="*/ 1757068 w 1757068"/>
                <a:gd name="connsiteY1" fmla="*/ 0 h 4528788"/>
                <a:gd name="connsiteX2" fmla="*/ 1757068 w 1757068"/>
                <a:gd name="connsiteY2" fmla="*/ 980624 h 4528788"/>
                <a:gd name="connsiteX3" fmla="*/ 759261 w 1757068"/>
                <a:gd name="connsiteY3" fmla="*/ 4528788 h 4528788"/>
                <a:gd name="connsiteX4" fmla="*/ 0 w 1757068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7068" h="4528788">
                  <a:moveTo>
                    <a:pt x="1273576" y="0"/>
                  </a:moveTo>
                  <a:lnTo>
                    <a:pt x="1757068" y="0"/>
                  </a:lnTo>
                  <a:lnTo>
                    <a:pt x="1757068" y="980624"/>
                  </a:lnTo>
                  <a:lnTo>
                    <a:pt x="759261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B0ABAE13-78B1-485C-AAF4-B7C5877228EE}"/>
                </a:ext>
              </a:extLst>
            </p:cNvPr>
            <p:cNvSpPr/>
            <p:nvPr/>
          </p:nvSpPr>
          <p:spPr>
            <a:xfrm>
              <a:off x="8431598" y="0"/>
              <a:ext cx="3760402" cy="4528788"/>
            </a:xfrm>
            <a:custGeom>
              <a:avLst/>
              <a:gdLst>
                <a:gd name="connsiteX0" fmla="*/ 1289144 w 3760402"/>
                <a:gd name="connsiteY0" fmla="*/ 0 h 4528788"/>
                <a:gd name="connsiteX1" fmla="*/ 3760402 w 3760402"/>
                <a:gd name="connsiteY1" fmla="*/ 0 h 4528788"/>
                <a:gd name="connsiteX2" fmla="*/ 3760402 w 3760402"/>
                <a:gd name="connsiteY2" fmla="*/ 247103 h 4528788"/>
                <a:gd name="connsiteX3" fmla="*/ 2541597 w 3760402"/>
                <a:gd name="connsiteY3" fmla="*/ 4528788 h 4528788"/>
                <a:gd name="connsiteX4" fmla="*/ 0 w 3760402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0402" h="4528788">
                  <a:moveTo>
                    <a:pt x="1289144" y="0"/>
                  </a:moveTo>
                  <a:lnTo>
                    <a:pt x="3760402" y="0"/>
                  </a:lnTo>
                  <a:lnTo>
                    <a:pt x="3760402" y="247103"/>
                  </a:lnTo>
                  <a:lnTo>
                    <a:pt x="2541597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30EDA6E0-4A99-46B3-953F-4B5DB1BB0CDB}"/>
                </a:ext>
              </a:extLst>
            </p:cNvPr>
            <p:cNvSpPr/>
            <p:nvPr/>
          </p:nvSpPr>
          <p:spPr>
            <a:xfrm>
              <a:off x="8728052" y="0"/>
              <a:ext cx="1403628" cy="2897528"/>
            </a:xfrm>
            <a:custGeom>
              <a:avLst/>
              <a:gdLst>
                <a:gd name="connsiteX0" fmla="*/ 814836 w 1403628"/>
                <a:gd name="connsiteY0" fmla="*/ 0 h 2897528"/>
                <a:gd name="connsiteX1" fmla="*/ 1403628 w 1403628"/>
                <a:gd name="connsiteY1" fmla="*/ 0 h 2897528"/>
                <a:gd name="connsiteX2" fmla="*/ 588792 w 1403628"/>
                <a:gd name="connsiteY2" fmla="*/ 2897528 h 2897528"/>
                <a:gd name="connsiteX3" fmla="*/ 0 w 1403628"/>
                <a:gd name="connsiteY3" fmla="*/ 2897528 h 2897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628" h="2897528">
                  <a:moveTo>
                    <a:pt x="814836" y="0"/>
                  </a:moveTo>
                  <a:lnTo>
                    <a:pt x="1403628" y="0"/>
                  </a:lnTo>
                  <a:lnTo>
                    <a:pt x="588792" y="2897528"/>
                  </a:lnTo>
                  <a:lnTo>
                    <a:pt x="0" y="289752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19" name="组合 118">
            <a:extLst>
              <a:ext uri="{FF2B5EF4-FFF2-40B4-BE49-F238E27FC236}">
                <a16:creationId xmlns:a16="http://schemas.microsoft.com/office/drawing/2014/main" id="{2FAC8649-7B37-43F6-ACF0-9895D2FAC1AB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DA4A744F-293F-497F-8385-66F1CEBEF0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7">
              <a:extLst>
                <a:ext uri="{FF2B5EF4-FFF2-40B4-BE49-F238E27FC236}">
                  <a16:creationId xmlns:a16="http://schemas.microsoft.com/office/drawing/2014/main" id="{28D59CC8-9BBC-460B-A934-7C29BE2CC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8">
              <a:extLst>
                <a:ext uri="{FF2B5EF4-FFF2-40B4-BE49-F238E27FC236}">
                  <a16:creationId xmlns:a16="http://schemas.microsoft.com/office/drawing/2014/main" id="{E538FC7B-9F82-408F-82BD-4160A8E8C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67" name="组合 166">
              <a:extLst>
                <a:ext uri="{FF2B5EF4-FFF2-40B4-BE49-F238E27FC236}">
                  <a16:creationId xmlns:a16="http://schemas.microsoft.com/office/drawing/2014/main" id="{2A01017D-ED90-48D6-9055-3E27DCBE1756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212" name="Freeform 6">
                <a:extLst>
                  <a:ext uri="{FF2B5EF4-FFF2-40B4-BE49-F238E27FC236}">
                    <a16:creationId xmlns:a16="http://schemas.microsoft.com/office/drawing/2014/main" id="{D61C9031-D970-43B2-B0E3-4AE13F0908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10">
                <a:extLst>
                  <a:ext uri="{FF2B5EF4-FFF2-40B4-BE49-F238E27FC236}">
                    <a16:creationId xmlns:a16="http://schemas.microsoft.com/office/drawing/2014/main" id="{1093F552-BFC4-4D60-B615-BB4F30C6E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13">
                <a:extLst>
                  <a:ext uri="{FF2B5EF4-FFF2-40B4-BE49-F238E27FC236}">
                    <a16:creationId xmlns:a16="http://schemas.microsoft.com/office/drawing/2014/main" id="{7AD3F657-2DAC-4CCB-8F9C-F160ED8E2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9" name="组合 168">
              <a:extLst>
                <a:ext uri="{FF2B5EF4-FFF2-40B4-BE49-F238E27FC236}">
                  <a16:creationId xmlns:a16="http://schemas.microsoft.com/office/drawing/2014/main" id="{08FAEF02-C976-4CEF-938D-71D95C69FAD8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207" name="Freeform 9">
                <a:extLst>
                  <a:ext uri="{FF2B5EF4-FFF2-40B4-BE49-F238E27FC236}">
                    <a16:creationId xmlns:a16="http://schemas.microsoft.com/office/drawing/2014/main" id="{C2549B88-DC55-45C9-A726-07822F735C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11">
                <a:extLst>
                  <a:ext uri="{FF2B5EF4-FFF2-40B4-BE49-F238E27FC236}">
                    <a16:creationId xmlns:a16="http://schemas.microsoft.com/office/drawing/2014/main" id="{7207FFD0-9871-4E28-9993-962235D468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12">
                <a:extLst>
                  <a:ext uri="{FF2B5EF4-FFF2-40B4-BE49-F238E27FC236}">
                    <a16:creationId xmlns:a16="http://schemas.microsoft.com/office/drawing/2014/main" id="{56D54BAD-2E47-41CA-8EBF-53342503F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14">
                <a:extLst>
                  <a:ext uri="{FF2B5EF4-FFF2-40B4-BE49-F238E27FC236}">
                    <a16:creationId xmlns:a16="http://schemas.microsoft.com/office/drawing/2014/main" id="{80DC91F8-4892-46DF-8052-C502F1E17E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15">
                <a:extLst>
                  <a:ext uri="{FF2B5EF4-FFF2-40B4-BE49-F238E27FC236}">
                    <a16:creationId xmlns:a16="http://schemas.microsoft.com/office/drawing/2014/main" id="{02590DBF-ECD3-47FE-A3D9-10693F5FD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71" name="Freeform 16">
              <a:extLst>
                <a:ext uri="{FF2B5EF4-FFF2-40B4-BE49-F238E27FC236}">
                  <a16:creationId xmlns:a16="http://schemas.microsoft.com/office/drawing/2014/main" id="{CA216957-609E-459D-94A4-912F02A2F2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7">
              <a:extLst>
                <a:ext uri="{FF2B5EF4-FFF2-40B4-BE49-F238E27FC236}">
                  <a16:creationId xmlns:a16="http://schemas.microsoft.com/office/drawing/2014/main" id="{133BCB77-7C58-4A30-8D1D-0536BA77BE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Oval 18">
              <a:extLst>
                <a:ext uri="{FF2B5EF4-FFF2-40B4-BE49-F238E27FC236}">
                  <a16:creationId xmlns:a16="http://schemas.microsoft.com/office/drawing/2014/main" id="{2C60AFEE-7EDC-4060-B635-F42D750C8F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9">
              <a:extLst>
                <a:ext uri="{FF2B5EF4-FFF2-40B4-BE49-F238E27FC236}">
                  <a16:creationId xmlns:a16="http://schemas.microsoft.com/office/drawing/2014/main" id="{1872922C-DDCC-4139-82D7-1D3F99098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20">
              <a:extLst>
                <a:ext uri="{FF2B5EF4-FFF2-40B4-BE49-F238E27FC236}">
                  <a16:creationId xmlns:a16="http://schemas.microsoft.com/office/drawing/2014/main" id="{412C031B-2C64-4021-A3AB-0CF2FA99C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21">
              <a:extLst>
                <a:ext uri="{FF2B5EF4-FFF2-40B4-BE49-F238E27FC236}">
                  <a16:creationId xmlns:a16="http://schemas.microsoft.com/office/drawing/2014/main" id="{8A51ED06-7F83-4831-A272-00EF57261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22">
              <a:extLst>
                <a:ext uri="{FF2B5EF4-FFF2-40B4-BE49-F238E27FC236}">
                  <a16:creationId xmlns:a16="http://schemas.microsoft.com/office/drawing/2014/main" id="{2CE2175B-51F0-4ED3-8099-138998030A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23">
              <a:extLst>
                <a:ext uri="{FF2B5EF4-FFF2-40B4-BE49-F238E27FC236}">
                  <a16:creationId xmlns:a16="http://schemas.microsoft.com/office/drawing/2014/main" id="{343ED19B-1E03-4E5C-9419-5E640555E2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24">
              <a:extLst>
                <a:ext uri="{FF2B5EF4-FFF2-40B4-BE49-F238E27FC236}">
                  <a16:creationId xmlns:a16="http://schemas.microsoft.com/office/drawing/2014/main" id="{6704229F-B91A-476F-AE1F-BA9FA721C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25">
              <a:extLst>
                <a:ext uri="{FF2B5EF4-FFF2-40B4-BE49-F238E27FC236}">
                  <a16:creationId xmlns:a16="http://schemas.microsoft.com/office/drawing/2014/main" id="{13C7F063-03F6-48CF-8D99-BF90ADD45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26">
              <a:extLst>
                <a:ext uri="{FF2B5EF4-FFF2-40B4-BE49-F238E27FC236}">
                  <a16:creationId xmlns:a16="http://schemas.microsoft.com/office/drawing/2014/main" id="{1A7C3634-B1B5-4324-8117-092C4B73BC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27">
              <a:extLst>
                <a:ext uri="{FF2B5EF4-FFF2-40B4-BE49-F238E27FC236}">
                  <a16:creationId xmlns:a16="http://schemas.microsoft.com/office/drawing/2014/main" id="{3B6522A6-6CCA-4E58-A82C-C813B6769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28">
              <a:extLst>
                <a:ext uri="{FF2B5EF4-FFF2-40B4-BE49-F238E27FC236}">
                  <a16:creationId xmlns:a16="http://schemas.microsoft.com/office/drawing/2014/main" id="{35C04705-8DBD-44A2-86E6-7AFBC6020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29">
              <a:extLst>
                <a:ext uri="{FF2B5EF4-FFF2-40B4-BE49-F238E27FC236}">
                  <a16:creationId xmlns:a16="http://schemas.microsoft.com/office/drawing/2014/main" id="{87A3CF62-1572-4E3D-BBE5-EA7464237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0">
              <a:extLst>
                <a:ext uri="{FF2B5EF4-FFF2-40B4-BE49-F238E27FC236}">
                  <a16:creationId xmlns:a16="http://schemas.microsoft.com/office/drawing/2014/main" id="{81705BCE-3F81-4A91-82BE-21ABC13F1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1">
              <a:extLst>
                <a:ext uri="{FF2B5EF4-FFF2-40B4-BE49-F238E27FC236}">
                  <a16:creationId xmlns:a16="http://schemas.microsoft.com/office/drawing/2014/main" id="{AD9DF8CB-7C2C-4D51-9F1A-BCDDDFE4B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2">
              <a:extLst>
                <a:ext uri="{FF2B5EF4-FFF2-40B4-BE49-F238E27FC236}">
                  <a16:creationId xmlns:a16="http://schemas.microsoft.com/office/drawing/2014/main" id="{5F307D9D-2D52-4A30-8C10-EC7E8295E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3">
              <a:extLst>
                <a:ext uri="{FF2B5EF4-FFF2-40B4-BE49-F238E27FC236}">
                  <a16:creationId xmlns:a16="http://schemas.microsoft.com/office/drawing/2014/main" id="{3545C1A7-7C9C-408E-887B-BEB0845B4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4">
              <a:extLst>
                <a:ext uri="{FF2B5EF4-FFF2-40B4-BE49-F238E27FC236}">
                  <a16:creationId xmlns:a16="http://schemas.microsoft.com/office/drawing/2014/main" id="{046CDA66-D0CA-4A89-BD6C-A217DAD330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75B21DC1-AC4F-4DCB-AA25-6CFC6BF3E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611C51B1-8614-4CC1-BBDA-AF28BDB38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7">
              <a:extLst>
                <a:ext uri="{FF2B5EF4-FFF2-40B4-BE49-F238E27FC236}">
                  <a16:creationId xmlns:a16="http://schemas.microsoft.com/office/drawing/2014/main" id="{13FAC45D-2F4B-436B-9BD4-CB8619C70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38">
              <a:extLst>
                <a:ext uri="{FF2B5EF4-FFF2-40B4-BE49-F238E27FC236}">
                  <a16:creationId xmlns:a16="http://schemas.microsoft.com/office/drawing/2014/main" id="{FB82A556-D59C-4F00-B2EC-2157727D9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39">
              <a:extLst>
                <a:ext uri="{FF2B5EF4-FFF2-40B4-BE49-F238E27FC236}">
                  <a16:creationId xmlns:a16="http://schemas.microsoft.com/office/drawing/2014/main" id="{4F793F82-1B0A-423D-8ED6-B1C6AAD8C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0">
              <a:extLst>
                <a:ext uri="{FF2B5EF4-FFF2-40B4-BE49-F238E27FC236}">
                  <a16:creationId xmlns:a16="http://schemas.microsoft.com/office/drawing/2014/main" id="{9EEA1EDF-FBC6-4D59-9622-F293FEB86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41">
              <a:extLst>
                <a:ext uri="{FF2B5EF4-FFF2-40B4-BE49-F238E27FC236}">
                  <a16:creationId xmlns:a16="http://schemas.microsoft.com/office/drawing/2014/main" id="{FB5E06EB-5466-44CB-9B04-1C293B63E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42">
              <a:extLst>
                <a:ext uri="{FF2B5EF4-FFF2-40B4-BE49-F238E27FC236}">
                  <a16:creationId xmlns:a16="http://schemas.microsoft.com/office/drawing/2014/main" id="{2C636586-FC47-4F09-ADD1-CAA659F37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43">
              <a:extLst>
                <a:ext uri="{FF2B5EF4-FFF2-40B4-BE49-F238E27FC236}">
                  <a16:creationId xmlns:a16="http://schemas.microsoft.com/office/drawing/2014/main" id="{5699D803-BE91-4DBE-9380-E389A59CD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44">
              <a:extLst>
                <a:ext uri="{FF2B5EF4-FFF2-40B4-BE49-F238E27FC236}">
                  <a16:creationId xmlns:a16="http://schemas.microsoft.com/office/drawing/2014/main" id="{27285417-A1BA-4A90-BFB8-FD15F984EF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45">
              <a:extLst>
                <a:ext uri="{FF2B5EF4-FFF2-40B4-BE49-F238E27FC236}">
                  <a16:creationId xmlns:a16="http://schemas.microsoft.com/office/drawing/2014/main" id="{19993207-3EDB-4F9F-A8A2-4FE0805CC8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46">
              <a:extLst>
                <a:ext uri="{FF2B5EF4-FFF2-40B4-BE49-F238E27FC236}">
                  <a16:creationId xmlns:a16="http://schemas.microsoft.com/office/drawing/2014/main" id="{F788D091-BDC9-4500-9A99-C57C933FC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47">
              <a:extLst>
                <a:ext uri="{FF2B5EF4-FFF2-40B4-BE49-F238E27FC236}">
                  <a16:creationId xmlns:a16="http://schemas.microsoft.com/office/drawing/2014/main" id="{E4F999A5-9209-493A-BD64-599BD2ABF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48">
              <a:extLst>
                <a:ext uri="{FF2B5EF4-FFF2-40B4-BE49-F238E27FC236}">
                  <a16:creationId xmlns:a16="http://schemas.microsoft.com/office/drawing/2014/main" id="{6E428C89-C88E-4F48-A31F-6A86395D4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49">
              <a:extLst>
                <a:ext uri="{FF2B5EF4-FFF2-40B4-BE49-F238E27FC236}">
                  <a16:creationId xmlns:a16="http://schemas.microsoft.com/office/drawing/2014/main" id="{62457D9A-E899-44A9-8FC0-1A4C11CE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423529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图片 62">
            <a:extLst>
              <a:ext uri="{FF2B5EF4-FFF2-40B4-BE49-F238E27FC236}">
                <a16:creationId xmlns:a16="http://schemas.microsoft.com/office/drawing/2014/main" id="{6B142845-88A8-41C4-97A3-1F37BA1801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sp>
        <p:nvSpPr>
          <p:cNvPr id="178" name="任意多边形: 形状 177">
            <a:extLst>
              <a:ext uri="{FF2B5EF4-FFF2-40B4-BE49-F238E27FC236}">
                <a16:creationId xmlns:a16="http://schemas.microsoft.com/office/drawing/2014/main" id="{04F8DBAB-8296-4AE7-BBA6-0044BF6985A8}"/>
              </a:ext>
            </a:extLst>
          </p:cNvPr>
          <p:cNvSpPr/>
          <p:nvPr userDrawn="1"/>
        </p:nvSpPr>
        <p:spPr>
          <a:xfrm>
            <a:off x="2551831" y="892601"/>
            <a:ext cx="6852214" cy="5965399"/>
          </a:xfrm>
          <a:custGeom>
            <a:avLst/>
            <a:gdLst>
              <a:gd name="connsiteX0" fmla="*/ 3426108 w 6852214"/>
              <a:gd name="connsiteY0" fmla="*/ 0 h 5965399"/>
              <a:gd name="connsiteX1" fmla="*/ 6852214 w 6852214"/>
              <a:gd name="connsiteY1" fmla="*/ 3426107 h 5965399"/>
              <a:gd name="connsiteX2" fmla="*/ 5848731 w 6852214"/>
              <a:gd name="connsiteY2" fmla="*/ 5848731 h 5965399"/>
              <a:gd name="connsiteX3" fmla="*/ 5720364 w 6852214"/>
              <a:gd name="connsiteY3" fmla="*/ 5965399 h 5965399"/>
              <a:gd name="connsiteX4" fmla="*/ 1131851 w 6852214"/>
              <a:gd name="connsiteY4" fmla="*/ 5965399 h 5965399"/>
              <a:gd name="connsiteX5" fmla="*/ 1003484 w 6852214"/>
              <a:gd name="connsiteY5" fmla="*/ 5848731 h 5965399"/>
              <a:gd name="connsiteX6" fmla="*/ 0 w 6852214"/>
              <a:gd name="connsiteY6" fmla="*/ 3426107 h 5965399"/>
              <a:gd name="connsiteX7" fmla="*/ 3426108 w 6852214"/>
              <a:gd name="connsiteY7" fmla="*/ 0 h 5965399"/>
              <a:gd name="connsiteX0" fmla="*/ 3426108 w 6852214"/>
              <a:gd name="connsiteY0" fmla="*/ 0 h 6483559"/>
              <a:gd name="connsiteX1" fmla="*/ 6852214 w 6852214"/>
              <a:gd name="connsiteY1" fmla="*/ 3426107 h 6483559"/>
              <a:gd name="connsiteX2" fmla="*/ 5848731 w 6852214"/>
              <a:gd name="connsiteY2" fmla="*/ 5848731 h 6483559"/>
              <a:gd name="connsiteX3" fmla="*/ 5720364 w 6852214"/>
              <a:gd name="connsiteY3" fmla="*/ 5965399 h 6483559"/>
              <a:gd name="connsiteX4" fmla="*/ 3848969 w 6852214"/>
              <a:gd name="connsiteY4" fmla="*/ 6483559 h 6483559"/>
              <a:gd name="connsiteX5" fmla="*/ 1131851 w 6852214"/>
              <a:gd name="connsiteY5" fmla="*/ 5965399 h 6483559"/>
              <a:gd name="connsiteX6" fmla="*/ 1003484 w 6852214"/>
              <a:gd name="connsiteY6" fmla="*/ 5848731 h 6483559"/>
              <a:gd name="connsiteX7" fmla="*/ 0 w 6852214"/>
              <a:gd name="connsiteY7" fmla="*/ 3426107 h 6483559"/>
              <a:gd name="connsiteX8" fmla="*/ 3426108 w 6852214"/>
              <a:gd name="connsiteY8" fmla="*/ 0 h 6483559"/>
              <a:gd name="connsiteX0" fmla="*/ 3848969 w 6852214"/>
              <a:gd name="connsiteY0" fmla="*/ 6483559 h 6574999"/>
              <a:gd name="connsiteX1" fmla="*/ 1131851 w 6852214"/>
              <a:gd name="connsiteY1" fmla="*/ 5965399 h 6574999"/>
              <a:gd name="connsiteX2" fmla="*/ 1003484 w 6852214"/>
              <a:gd name="connsiteY2" fmla="*/ 5848731 h 6574999"/>
              <a:gd name="connsiteX3" fmla="*/ 0 w 6852214"/>
              <a:gd name="connsiteY3" fmla="*/ 3426107 h 6574999"/>
              <a:gd name="connsiteX4" fmla="*/ 3426108 w 6852214"/>
              <a:gd name="connsiteY4" fmla="*/ 0 h 6574999"/>
              <a:gd name="connsiteX5" fmla="*/ 6852214 w 6852214"/>
              <a:gd name="connsiteY5" fmla="*/ 3426107 h 6574999"/>
              <a:gd name="connsiteX6" fmla="*/ 5848731 w 6852214"/>
              <a:gd name="connsiteY6" fmla="*/ 5848731 h 6574999"/>
              <a:gd name="connsiteX7" fmla="*/ 5720364 w 6852214"/>
              <a:gd name="connsiteY7" fmla="*/ 5965399 h 6574999"/>
              <a:gd name="connsiteX8" fmla="*/ 3940409 w 6852214"/>
              <a:gd name="connsiteY8" fmla="*/ 6574999 h 6574999"/>
              <a:gd name="connsiteX0" fmla="*/ 3848969 w 6852214"/>
              <a:gd name="connsiteY0" fmla="*/ 6483559 h 6483559"/>
              <a:gd name="connsiteX1" fmla="*/ 1131851 w 6852214"/>
              <a:gd name="connsiteY1" fmla="*/ 5965399 h 6483559"/>
              <a:gd name="connsiteX2" fmla="*/ 1003484 w 6852214"/>
              <a:gd name="connsiteY2" fmla="*/ 5848731 h 6483559"/>
              <a:gd name="connsiteX3" fmla="*/ 0 w 6852214"/>
              <a:gd name="connsiteY3" fmla="*/ 3426107 h 6483559"/>
              <a:gd name="connsiteX4" fmla="*/ 3426108 w 6852214"/>
              <a:gd name="connsiteY4" fmla="*/ 0 h 6483559"/>
              <a:gd name="connsiteX5" fmla="*/ 6852214 w 6852214"/>
              <a:gd name="connsiteY5" fmla="*/ 3426107 h 6483559"/>
              <a:gd name="connsiteX6" fmla="*/ 5848731 w 6852214"/>
              <a:gd name="connsiteY6" fmla="*/ 5848731 h 6483559"/>
              <a:gd name="connsiteX7" fmla="*/ 5720364 w 6852214"/>
              <a:gd name="connsiteY7" fmla="*/ 5965399 h 6483559"/>
              <a:gd name="connsiteX0" fmla="*/ 1131851 w 6852214"/>
              <a:gd name="connsiteY0" fmla="*/ 5965399 h 5965399"/>
              <a:gd name="connsiteX1" fmla="*/ 1003484 w 6852214"/>
              <a:gd name="connsiteY1" fmla="*/ 5848731 h 5965399"/>
              <a:gd name="connsiteX2" fmla="*/ 0 w 6852214"/>
              <a:gd name="connsiteY2" fmla="*/ 3426107 h 5965399"/>
              <a:gd name="connsiteX3" fmla="*/ 3426108 w 6852214"/>
              <a:gd name="connsiteY3" fmla="*/ 0 h 5965399"/>
              <a:gd name="connsiteX4" fmla="*/ 6852214 w 6852214"/>
              <a:gd name="connsiteY4" fmla="*/ 3426107 h 5965399"/>
              <a:gd name="connsiteX5" fmla="*/ 5848731 w 6852214"/>
              <a:gd name="connsiteY5" fmla="*/ 5848731 h 5965399"/>
              <a:gd name="connsiteX6" fmla="*/ 5720364 w 6852214"/>
              <a:gd name="connsiteY6" fmla="*/ 5965399 h 5965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52214" h="5965399">
                <a:moveTo>
                  <a:pt x="1131851" y="5965399"/>
                </a:moveTo>
                <a:lnTo>
                  <a:pt x="1003484" y="5848731"/>
                </a:lnTo>
                <a:cubicBezTo>
                  <a:pt x="383480" y="5228727"/>
                  <a:pt x="0" y="4372201"/>
                  <a:pt x="0" y="3426107"/>
                </a:cubicBezTo>
                <a:cubicBezTo>
                  <a:pt x="0" y="1533920"/>
                  <a:pt x="1533920" y="0"/>
                  <a:pt x="3426108" y="0"/>
                </a:cubicBezTo>
                <a:cubicBezTo>
                  <a:pt x="5318294" y="0"/>
                  <a:pt x="6852214" y="1533920"/>
                  <a:pt x="6852214" y="3426107"/>
                </a:cubicBezTo>
                <a:cubicBezTo>
                  <a:pt x="6852214" y="4372201"/>
                  <a:pt x="6468734" y="5228727"/>
                  <a:pt x="5848731" y="5848731"/>
                </a:cubicBezTo>
                <a:lnTo>
                  <a:pt x="5720364" y="5965399"/>
                </a:lnTo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76200" cap="flat" cmpd="thickThin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8F19B7F-65B9-4778-86D3-AB8EEFACE9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81397" y="5089197"/>
            <a:ext cx="6393084" cy="331948"/>
          </a:xfrm>
        </p:spPr>
        <p:txBody>
          <a:bodyPr wrap="none"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18093" y="4156898"/>
            <a:ext cx="6519692" cy="923330"/>
          </a:xfrm>
        </p:spPr>
        <p:txBody>
          <a:bodyPr wrap="none"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accent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cxnSp>
        <p:nvCxnSpPr>
          <p:cNvPr id="69" name="直接连接符 68">
            <a:extLst>
              <a:ext uri="{FF2B5EF4-FFF2-40B4-BE49-F238E27FC236}">
                <a16:creationId xmlns:a16="http://schemas.microsoft.com/office/drawing/2014/main" id="{AB153194-966B-4649-94D6-40D0AEF98C2E}"/>
              </a:ext>
            </a:extLst>
          </p:cNvPr>
          <p:cNvCxnSpPr>
            <a:cxnSpLocks/>
          </p:cNvCxnSpPr>
          <p:nvPr userDrawn="1"/>
        </p:nvCxnSpPr>
        <p:spPr>
          <a:xfrm>
            <a:off x="3253788" y="5688326"/>
            <a:ext cx="54483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文本占位符 4">
            <a:extLst>
              <a:ext uri="{FF2B5EF4-FFF2-40B4-BE49-F238E27FC236}">
                <a16:creationId xmlns:a16="http://schemas.microsoft.com/office/drawing/2014/main" id="{4FA7F193-4D48-462D-BE39-D28E424198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36932" y="1965959"/>
            <a:ext cx="2282014" cy="2064033"/>
          </a:xfrm>
        </p:spPr>
        <p:txBody>
          <a:bodyPr vert="horz" wrap="none" lIns="0" tIns="0" rIns="0" bIns="0" rtlCol="0" anchor="ctr" anchorCtr="0">
            <a:noAutofit/>
          </a:bodyPr>
          <a:lstStyle>
            <a:lvl1pPr>
              <a:defRPr lang="en-US" altLang="zh-CN" sz="16600" b="1" spc="600" dirty="0">
                <a:ln w="19050">
                  <a:gradFill>
                    <a:gsLst>
                      <a:gs pos="23000">
                        <a:schemeClr val="bg1"/>
                      </a:gs>
                      <a:gs pos="5600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5400000" scaled="1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Impact" panose="020B0806030902050204" pitchFamily="34" charset="0"/>
              </a:defRPr>
            </a:lvl1pPr>
          </a:lstStyle>
          <a:p>
            <a:pPr lvl="0" algn="ctr" defTabSz="457200">
              <a:lnSpc>
                <a:spcPct val="100000"/>
              </a:lnSpc>
              <a:spcBef>
                <a:spcPts val="0"/>
              </a:spcBef>
              <a:buFontTx/>
            </a:pPr>
            <a:r>
              <a:rPr lang="en-US" altLang="zh-CN" dirty="0"/>
              <a:t>01</a:t>
            </a:r>
          </a:p>
        </p:txBody>
      </p:sp>
      <p:cxnSp>
        <p:nvCxnSpPr>
          <p:cNvPr id="71" name="直接连接符 70">
            <a:extLst>
              <a:ext uri="{FF2B5EF4-FFF2-40B4-BE49-F238E27FC236}">
                <a16:creationId xmlns:a16="http://schemas.microsoft.com/office/drawing/2014/main" id="{D04F6B9F-7D35-4B2B-8FCE-400A2F5288C0}"/>
              </a:ext>
            </a:extLst>
          </p:cNvPr>
          <p:cNvCxnSpPr/>
          <p:nvPr userDrawn="1"/>
        </p:nvCxnSpPr>
        <p:spPr>
          <a:xfrm>
            <a:off x="5494041" y="4062007"/>
            <a:ext cx="967796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任意多边形: 形状 178">
            <a:extLst>
              <a:ext uri="{FF2B5EF4-FFF2-40B4-BE49-F238E27FC236}">
                <a16:creationId xmlns:a16="http://schemas.microsoft.com/office/drawing/2014/main" id="{F1AC7D66-9C31-428C-A782-2A36B7F8EB31}"/>
              </a:ext>
            </a:extLst>
          </p:cNvPr>
          <p:cNvSpPr/>
          <p:nvPr userDrawn="1"/>
        </p:nvSpPr>
        <p:spPr>
          <a:xfrm>
            <a:off x="2689956" y="1030726"/>
            <a:ext cx="6575964" cy="5827275"/>
          </a:xfrm>
          <a:custGeom>
            <a:avLst/>
            <a:gdLst>
              <a:gd name="connsiteX0" fmla="*/ 3287982 w 6575964"/>
              <a:gd name="connsiteY0" fmla="*/ 0 h 5827275"/>
              <a:gd name="connsiteX1" fmla="*/ 6575964 w 6575964"/>
              <a:gd name="connsiteY1" fmla="*/ 3287982 h 5827275"/>
              <a:gd name="connsiteX2" fmla="*/ 5379444 w 6575964"/>
              <a:gd name="connsiteY2" fmla="*/ 5825149 h 5827275"/>
              <a:gd name="connsiteX3" fmla="*/ 5376601 w 6575964"/>
              <a:gd name="connsiteY3" fmla="*/ 5827275 h 5827275"/>
              <a:gd name="connsiteX4" fmla="*/ 1199364 w 6575964"/>
              <a:gd name="connsiteY4" fmla="*/ 5827275 h 5827275"/>
              <a:gd name="connsiteX5" fmla="*/ 1196521 w 6575964"/>
              <a:gd name="connsiteY5" fmla="*/ 5825149 h 5827275"/>
              <a:gd name="connsiteX6" fmla="*/ 0 w 6575964"/>
              <a:gd name="connsiteY6" fmla="*/ 3287982 h 5827275"/>
              <a:gd name="connsiteX7" fmla="*/ 3287982 w 6575964"/>
              <a:gd name="connsiteY7" fmla="*/ 0 h 5827275"/>
              <a:gd name="connsiteX0" fmla="*/ 3287982 w 6575964"/>
              <a:gd name="connsiteY0" fmla="*/ 0 h 6391154"/>
              <a:gd name="connsiteX1" fmla="*/ 6575964 w 6575964"/>
              <a:gd name="connsiteY1" fmla="*/ 3287982 h 6391154"/>
              <a:gd name="connsiteX2" fmla="*/ 5379444 w 6575964"/>
              <a:gd name="connsiteY2" fmla="*/ 5825149 h 6391154"/>
              <a:gd name="connsiteX3" fmla="*/ 5376601 w 6575964"/>
              <a:gd name="connsiteY3" fmla="*/ 5827275 h 6391154"/>
              <a:gd name="connsiteX4" fmla="*/ 3390804 w 6575964"/>
              <a:gd name="connsiteY4" fmla="*/ 6391154 h 6391154"/>
              <a:gd name="connsiteX5" fmla="*/ 1199364 w 6575964"/>
              <a:gd name="connsiteY5" fmla="*/ 5827275 h 6391154"/>
              <a:gd name="connsiteX6" fmla="*/ 1196521 w 6575964"/>
              <a:gd name="connsiteY6" fmla="*/ 5825149 h 6391154"/>
              <a:gd name="connsiteX7" fmla="*/ 0 w 6575964"/>
              <a:gd name="connsiteY7" fmla="*/ 3287982 h 6391154"/>
              <a:gd name="connsiteX8" fmla="*/ 3287982 w 6575964"/>
              <a:gd name="connsiteY8" fmla="*/ 0 h 6391154"/>
              <a:gd name="connsiteX0" fmla="*/ 3390804 w 6575964"/>
              <a:gd name="connsiteY0" fmla="*/ 6391154 h 6482594"/>
              <a:gd name="connsiteX1" fmla="*/ 1199364 w 6575964"/>
              <a:gd name="connsiteY1" fmla="*/ 5827275 h 6482594"/>
              <a:gd name="connsiteX2" fmla="*/ 1196521 w 6575964"/>
              <a:gd name="connsiteY2" fmla="*/ 5825149 h 6482594"/>
              <a:gd name="connsiteX3" fmla="*/ 0 w 6575964"/>
              <a:gd name="connsiteY3" fmla="*/ 3287982 h 6482594"/>
              <a:gd name="connsiteX4" fmla="*/ 3287982 w 6575964"/>
              <a:gd name="connsiteY4" fmla="*/ 0 h 6482594"/>
              <a:gd name="connsiteX5" fmla="*/ 6575964 w 6575964"/>
              <a:gd name="connsiteY5" fmla="*/ 3287982 h 6482594"/>
              <a:gd name="connsiteX6" fmla="*/ 5379444 w 6575964"/>
              <a:gd name="connsiteY6" fmla="*/ 5825149 h 6482594"/>
              <a:gd name="connsiteX7" fmla="*/ 5376601 w 6575964"/>
              <a:gd name="connsiteY7" fmla="*/ 5827275 h 6482594"/>
              <a:gd name="connsiteX8" fmla="*/ 3482244 w 6575964"/>
              <a:gd name="connsiteY8" fmla="*/ 6482594 h 6482594"/>
              <a:gd name="connsiteX0" fmla="*/ 3390804 w 6575964"/>
              <a:gd name="connsiteY0" fmla="*/ 6391154 h 6391154"/>
              <a:gd name="connsiteX1" fmla="*/ 1199364 w 6575964"/>
              <a:gd name="connsiteY1" fmla="*/ 5827275 h 6391154"/>
              <a:gd name="connsiteX2" fmla="*/ 1196521 w 6575964"/>
              <a:gd name="connsiteY2" fmla="*/ 5825149 h 6391154"/>
              <a:gd name="connsiteX3" fmla="*/ 0 w 6575964"/>
              <a:gd name="connsiteY3" fmla="*/ 3287982 h 6391154"/>
              <a:gd name="connsiteX4" fmla="*/ 3287982 w 6575964"/>
              <a:gd name="connsiteY4" fmla="*/ 0 h 6391154"/>
              <a:gd name="connsiteX5" fmla="*/ 6575964 w 6575964"/>
              <a:gd name="connsiteY5" fmla="*/ 3287982 h 6391154"/>
              <a:gd name="connsiteX6" fmla="*/ 5379444 w 6575964"/>
              <a:gd name="connsiteY6" fmla="*/ 5825149 h 6391154"/>
              <a:gd name="connsiteX7" fmla="*/ 5376601 w 6575964"/>
              <a:gd name="connsiteY7" fmla="*/ 5827275 h 6391154"/>
              <a:gd name="connsiteX0" fmla="*/ 1199364 w 6575964"/>
              <a:gd name="connsiteY0" fmla="*/ 5827275 h 5827275"/>
              <a:gd name="connsiteX1" fmla="*/ 1196521 w 6575964"/>
              <a:gd name="connsiteY1" fmla="*/ 5825149 h 5827275"/>
              <a:gd name="connsiteX2" fmla="*/ 0 w 6575964"/>
              <a:gd name="connsiteY2" fmla="*/ 3287982 h 5827275"/>
              <a:gd name="connsiteX3" fmla="*/ 3287982 w 6575964"/>
              <a:gd name="connsiteY3" fmla="*/ 0 h 5827275"/>
              <a:gd name="connsiteX4" fmla="*/ 6575964 w 6575964"/>
              <a:gd name="connsiteY4" fmla="*/ 3287982 h 5827275"/>
              <a:gd name="connsiteX5" fmla="*/ 5379444 w 6575964"/>
              <a:gd name="connsiteY5" fmla="*/ 5825149 h 5827275"/>
              <a:gd name="connsiteX6" fmla="*/ 5376601 w 6575964"/>
              <a:gd name="connsiteY6" fmla="*/ 5827275 h 582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75964" h="5827275">
                <a:moveTo>
                  <a:pt x="1199364" y="5827275"/>
                </a:moveTo>
                <a:lnTo>
                  <a:pt x="1196521" y="5825149"/>
                </a:lnTo>
                <a:cubicBezTo>
                  <a:pt x="465776" y="5222085"/>
                  <a:pt x="0" y="4309427"/>
                  <a:pt x="0" y="3287982"/>
                </a:cubicBezTo>
                <a:cubicBezTo>
                  <a:pt x="0" y="1472080"/>
                  <a:pt x="1472080" y="0"/>
                  <a:pt x="3287982" y="0"/>
                </a:cubicBezTo>
                <a:cubicBezTo>
                  <a:pt x="5103884" y="0"/>
                  <a:pt x="6575964" y="1472080"/>
                  <a:pt x="6575964" y="3287982"/>
                </a:cubicBezTo>
                <a:cubicBezTo>
                  <a:pt x="6575964" y="4309427"/>
                  <a:pt x="6110189" y="5222085"/>
                  <a:pt x="5379444" y="5825149"/>
                </a:cubicBezTo>
                <a:lnTo>
                  <a:pt x="5376601" y="5827275"/>
                </a:lnTo>
              </a:path>
            </a:pathLst>
          </a:cu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ys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pattFill prst="ltUpDiag">
                  <a:fgClr>
                    <a:schemeClr val="bg1">
                      <a:lumMod val="95000"/>
                    </a:schemeClr>
                  </a:fgClr>
                  <a:bgClr>
                    <a:schemeClr val="bg1"/>
                  </a:bgClr>
                </a:patt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066FEB1-2BC5-44E5-95EE-61944C87CA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5592941" cy="5349240"/>
          </a:xfrm>
          <a:prstGeom prst="rect">
            <a:avLst/>
          </a:prstGeom>
        </p:spPr>
      </p:pic>
      <p:grpSp>
        <p:nvGrpSpPr>
          <p:cNvPr id="74" name="组合 73">
            <a:extLst>
              <a:ext uri="{FF2B5EF4-FFF2-40B4-BE49-F238E27FC236}">
                <a16:creationId xmlns:a16="http://schemas.microsoft.com/office/drawing/2014/main" id="{7F9AB8B8-3D79-462F-91C7-AB6483A9F2EC}"/>
              </a:ext>
            </a:extLst>
          </p:cNvPr>
          <p:cNvGrpSpPr/>
          <p:nvPr userDrawn="1"/>
        </p:nvGrpSpPr>
        <p:grpSpPr>
          <a:xfrm>
            <a:off x="5271326" y="5899132"/>
            <a:ext cx="1413226" cy="480332"/>
            <a:chOff x="1398368" y="5051425"/>
            <a:chExt cx="3242941" cy="1102222"/>
          </a:xfrm>
          <a:solidFill>
            <a:schemeClr val="accent1"/>
          </a:solidFill>
        </p:grpSpPr>
        <p:sp>
          <p:nvSpPr>
            <p:cNvPr id="75" name="Freeform 5">
              <a:extLst>
                <a:ext uri="{FF2B5EF4-FFF2-40B4-BE49-F238E27FC236}">
                  <a16:creationId xmlns:a16="http://schemas.microsoft.com/office/drawing/2014/main" id="{255C754D-94CB-49B9-B7E6-2FCC3014F6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">
              <a:extLst>
                <a:ext uri="{FF2B5EF4-FFF2-40B4-BE49-F238E27FC236}">
                  <a16:creationId xmlns:a16="http://schemas.microsoft.com/office/drawing/2014/main" id="{A8D2E2C7-EE7D-4E0F-8A4B-5EB915DE4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8">
              <a:extLst>
                <a:ext uri="{FF2B5EF4-FFF2-40B4-BE49-F238E27FC236}">
                  <a16:creationId xmlns:a16="http://schemas.microsoft.com/office/drawing/2014/main" id="{3CD03B56-2D13-4D9D-92E7-6ADFC3A2E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8" name="组合 77">
              <a:extLst>
                <a:ext uri="{FF2B5EF4-FFF2-40B4-BE49-F238E27FC236}">
                  <a16:creationId xmlns:a16="http://schemas.microsoft.com/office/drawing/2014/main" id="{9F34335B-154D-41D9-A39B-FA8B4F03BDDF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  <a:grpFill/>
          </p:grpSpPr>
          <p:sp>
            <p:nvSpPr>
              <p:cNvPr id="164" name="Freeform 6">
                <a:extLst>
                  <a:ext uri="{FF2B5EF4-FFF2-40B4-BE49-F238E27FC236}">
                    <a16:creationId xmlns:a16="http://schemas.microsoft.com/office/drawing/2014/main" id="{399E0E3E-2228-4B55-AAD0-50E2D169F3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10">
                <a:extLst>
                  <a:ext uri="{FF2B5EF4-FFF2-40B4-BE49-F238E27FC236}">
                    <a16:creationId xmlns:a16="http://schemas.microsoft.com/office/drawing/2014/main" id="{BA8060C2-A130-40D5-95CC-2B9FF7500C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3">
                <a:extLst>
                  <a:ext uri="{FF2B5EF4-FFF2-40B4-BE49-F238E27FC236}">
                    <a16:creationId xmlns:a16="http://schemas.microsoft.com/office/drawing/2014/main" id="{DBDF2782-D48A-420E-B1D2-60C42AE29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9" name="组合 78">
              <a:extLst>
                <a:ext uri="{FF2B5EF4-FFF2-40B4-BE49-F238E27FC236}">
                  <a16:creationId xmlns:a16="http://schemas.microsoft.com/office/drawing/2014/main" id="{8720059F-0ABE-4776-B624-1869C051257E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  <a:grpFill/>
          </p:grpSpPr>
          <p:sp>
            <p:nvSpPr>
              <p:cNvPr id="115" name="Freeform 9">
                <a:extLst>
                  <a:ext uri="{FF2B5EF4-FFF2-40B4-BE49-F238E27FC236}">
                    <a16:creationId xmlns:a16="http://schemas.microsoft.com/office/drawing/2014/main" id="{9420CFCE-183E-4454-B998-CA386FFD35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1">
                <a:extLst>
                  <a:ext uri="{FF2B5EF4-FFF2-40B4-BE49-F238E27FC236}">
                    <a16:creationId xmlns:a16="http://schemas.microsoft.com/office/drawing/2014/main" id="{ADF64A89-C3AB-40E1-A9D9-CC34AB20C3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12">
                <a:extLst>
                  <a:ext uri="{FF2B5EF4-FFF2-40B4-BE49-F238E27FC236}">
                    <a16:creationId xmlns:a16="http://schemas.microsoft.com/office/drawing/2014/main" id="{35674BD0-D3CE-4551-BBB2-AE561AB23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14">
                <a:extLst>
                  <a:ext uri="{FF2B5EF4-FFF2-40B4-BE49-F238E27FC236}">
                    <a16:creationId xmlns:a16="http://schemas.microsoft.com/office/drawing/2014/main" id="{39AA0788-8255-48E9-9985-23D05EC18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15">
                <a:extLst>
                  <a:ext uri="{FF2B5EF4-FFF2-40B4-BE49-F238E27FC236}">
                    <a16:creationId xmlns:a16="http://schemas.microsoft.com/office/drawing/2014/main" id="{FE2ED7E3-F494-4E19-A8D4-3E7EF6E37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0" name="Freeform 16">
              <a:extLst>
                <a:ext uri="{FF2B5EF4-FFF2-40B4-BE49-F238E27FC236}">
                  <a16:creationId xmlns:a16="http://schemas.microsoft.com/office/drawing/2014/main" id="{9CC64B16-3E5C-4D53-B142-1C541D51E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7">
              <a:extLst>
                <a:ext uri="{FF2B5EF4-FFF2-40B4-BE49-F238E27FC236}">
                  <a16:creationId xmlns:a16="http://schemas.microsoft.com/office/drawing/2014/main" id="{D8B4D2F6-C998-4BAB-869B-4E72090E7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Oval 18">
              <a:extLst>
                <a:ext uri="{FF2B5EF4-FFF2-40B4-BE49-F238E27FC236}">
                  <a16:creationId xmlns:a16="http://schemas.microsoft.com/office/drawing/2014/main" id="{1363C593-25C3-403C-AEFA-CFF99733DD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9">
              <a:extLst>
                <a:ext uri="{FF2B5EF4-FFF2-40B4-BE49-F238E27FC236}">
                  <a16:creationId xmlns:a16="http://schemas.microsoft.com/office/drawing/2014/main" id="{8F670E36-F659-449B-938F-20824E22F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0">
              <a:extLst>
                <a:ext uri="{FF2B5EF4-FFF2-40B4-BE49-F238E27FC236}">
                  <a16:creationId xmlns:a16="http://schemas.microsoft.com/office/drawing/2014/main" id="{F50F09B0-A4C8-460A-8B75-D49B21491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1">
              <a:extLst>
                <a:ext uri="{FF2B5EF4-FFF2-40B4-BE49-F238E27FC236}">
                  <a16:creationId xmlns:a16="http://schemas.microsoft.com/office/drawing/2014/main" id="{88293F25-3A32-454E-B2E0-0A9EA5236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2">
              <a:extLst>
                <a:ext uri="{FF2B5EF4-FFF2-40B4-BE49-F238E27FC236}">
                  <a16:creationId xmlns:a16="http://schemas.microsoft.com/office/drawing/2014/main" id="{67650ABB-1584-4209-BD79-8EE6D8F88E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3">
              <a:extLst>
                <a:ext uri="{FF2B5EF4-FFF2-40B4-BE49-F238E27FC236}">
                  <a16:creationId xmlns:a16="http://schemas.microsoft.com/office/drawing/2014/main" id="{36C615CC-582B-4157-80BD-E84CFC500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4">
              <a:extLst>
                <a:ext uri="{FF2B5EF4-FFF2-40B4-BE49-F238E27FC236}">
                  <a16:creationId xmlns:a16="http://schemas.microsoft.com/office/drawing/2014/main" id="{DCAEDB1C-7E1A-44C6-BEF8-5212FA238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5">
              <a:extLst>
                <a:ext uri="{FF2B5EF4-FFF2-40B4-BE49-F238E27FC236}">
                  <a16:creationId xmlns:a16="http://schemas.microsoft.com/office/drawing/2014/main" id="{7A1E627B-9A51-4CE7-99E3-DAD5329B5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6">
              <a:extLst>
                <a:ext uri="{FF2B5EF4-FFF2-40B4-BE49-F238E27FC236}">
                  <a16:creationId xmlns:a16="http://schemas.microsoft.com/office/drawing/2014/main" id="{27781A81-CC61-4FC4-A8D3-5AE2CD2466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7">
              <a:extLst>
                <a:ext uri="{FF2B5EF4-FFF2-40B4-BE49-F238E27FC236}">
                  <a16:creationId xmlns:a16="http://schemas.microsoft.com/office/drawing/2014/main" id="{76C1ED63-D326-4C58-AF4A-3151F421E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8">
              <a:extLst>
                <a:ext uri="{FF2B5EF4-FFF2-40B4-BE49-F238E27FC236}">
                  <a16:creationId xmlns:a16="http://schemas.microsoft.com/office/drawing/2014/main" id="{7A41BE28-8049-449F-B313-2D9A10876A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9">
              <a:extLst>
                <a:ext uri="{FF2B5EF4-FFF2-40B4-BE49-F238E27FC236}">
                  <a16:creationId xmlns:a16="http://schemas.microsoft.com/office/drawing/2014/main" id="{8E9119A4-A562-46A2-A09C-E3BF4441D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30">
              <a:extLst>
                <a:ext uri="{FF2B5EF4-FFF2-40B4-BE49-F238E27FC236}">
                  <a16:creationId xmlns:a16="http://schemas.microsoft.com/office/drawing/2014/main" id="{3FB2C692-BCB5-49AF-BB72-5C8DAE1BF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31">
              <a:extLst>
                <a:ext uri="{FF2B5EF4-FFF2-40B4-BE49-F238E27FC236}">
                  <a16:creationId xmlns:a16="http://schemas.microsoft.com/office/drawing/2014/main" id="{AED5FF73-0B2E-4949-93C9-2B0105EBA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2">
              <a:extLst>
                <a:ext uri="{FF2B5EF4-FFF2-40B4-BE49-F238E27FC236}">
                  <a16:creationId xmlns:a16="http://schemas.microsoft.com/office/drawing/2014/main" id="{9D66A287-E689-4184-AA20-34746B533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3">
              <a:extLst>
                <a:ext uri="{FF2B5EF4-FFF2-40B4-BE49-F238E27FC236}">
                  <a16:creationId xmlns:a16="http://schemas.microsoft.com/office/drawing/2014/main" id="{84C85BAC-67B0-4FB5-8FEC-8C92D1B81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4">
              <a:extLst>
                <a:ext uri="{FF2B5EF4-FFF2-40B4-BE49-F238E27FC236}">
                  <a16:creationId xmlns:a16="http://schemas.microsoft.com/office/drawing/2014/main" id="{FAA440E8-395E-496B-A63F-F023B4088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5">
              <a:extLst>
                <a:ext uri="{FF2B5EF4-FFF2-40B4-BE49-F238E27FC236}">
                  <a16:creationId xmlns:a16="http://schemas.microsoft.com/office/drawing/2014/main" id="{EC54404C-6BA3-4A64-AFF8-27FCBE01E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6">
              <a:extLst>
                <a:ext uri="{FF2B5EF4-FFF2-40B4-BE49-F238E27FC236}">
                  <a16:creationId xmlns:a16="http://schemas.microsoft.com/office/drawing/2014/main" id="{D3D3A219-E775-4AA2-8C81-9B771DA8B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7">
              <a:extLst>
                <a:ext uri="{FF2B5EF4-FFF2-40B4-BE49-F238E27FC236}">
                  <a16:creationId xmlns:a16="http://schemas.microsoft.com/office/drawing/2014/main" id="{88D8122A-EBDF-4050-A1EC-9660686B3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8">
              <a:extLst>
                <a:ext uri="{FF2B5EF4-FFF2-40B4-BE49-F238E27FC236}">
                  <a16:creationId xmlns:a16="http://schemas.microsoft.com/office/drawing/2014/main" id="{BF72F5E8-449D-46F4-BAB8-E82E5480D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9">
              <a:extLst>
                <a:ext uri="{FF2B5EF4-FFF2-40B4-BE49-F238E27FC236}">
                  <a16:creationId xmlns:a16="http://schemas.microsoft.com/office/drawing/2014/main" id="{A072D0A4-FBF7-4351-9554-DC3BFA934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40">
              <a:extLst>
                <a:ext uri="{FF2B5EF4-FFF2-40B4-BE49-F238E27FC236}">
                  <a16:creationId xmlns:a16="http://schemas.microsoft.com/office/drawing/2014/main" id="{442FB9D9-B51B-4A65-AFD0-222EE5BFB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41">
              <a:extLst>
                <a:ext uri="{FF2B5EF4-FFF2-40B4-BE49-F238E27FC236}">
                  <a16:creationId xmlns:a16="http://schemas.microsoft.com/office/drawing/2014/main" id="{C571444F-D3D7-4300-BF5D-3238D552B6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42">
              <a:extLst>
                <a:ext uri="{FF2B5EF4-FFF2-40B4-BE49-F238E27FC236}">
                  <a16:creationId xmlns:a16="http://schemas.microsoft.com/office/drawing/2014/main" id="{8E44E924-2290-4E4A-AB9F-E47FD05B2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43">
              <a:extLst>
                <a:ext uri="{FF2B5EF4-FFF2-40B4-BE49-F238E27FC236}">
                  <a16:creationId xmlns:a16="http://schemas.microsoft.com/office/drawing/2014/main" id="{BEC54CFA-28C3-4407-A945-148CF617C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44">
              <a:extLst>
                <a:ext uri="{FF2B5EF4-FFF2-40B4-BE49-F238E27FC236}">
                  <a16:creationId xmlns:a16="http://schemas.microsoft.com/office/drawing/2014/main" id="{9F01A003-2B17-40C5-A2C5-9BB84DEEF6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45">
              <a:extLst>
                <a:ext uri="{FF2B5EF4-FFF2-40B4-BE49-F238E27FC236}">
                  <a16:creationId xmlns:a16="http://schemas.microsoft.com/office/drawing/2014/main" id="{2D13B6B1-80B6-454C-8FB6-E80BF460E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46">
              <a:extLst>
                <a:ext uri="{FF2B5EF4-FFF2-40B4-BE49-F238E27FC236}">
                  <a16:creationId xmlns:a16="http://schemas.microsoft.com/office/drawing/2014/main" id="{AAC4B4D8-1699-4FE4-9ED0-B4BE11BDA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47">
              <a:extLst>
                <a:ext uri="{FF2B5EF4-FFF2-40B4-BE49-F238E27FC236}">
                  <a16:creationId xmlns:a16="http://schemas.microsoft.com/office/drawing/2014/main" id="{73A20B31-3A7A-49CE-8B6B-731E7AC20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48">
              <a:extLst>
                <a:ext uri="{FF2B5EF4-FFF2-40B4-BE49-F238E27FC236}">
                  <a16:creationId xmlns:a16="http://schemas.microsoft.com/office/drawing/2014/main" id="{714E75A5-DCC9-46E2-880E-8CD2603E2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49">
              <a:extLst>
                <a:ext uri="{FF2B5EF4-FFF2-40B4-BE49-F238E27FC236}">
                  <a16:creationId xmlns:a16="http://schemas.microsoft.com/office/drawing/2014/main" id="{B506150E-7D12-4F7A-86C3-12C470D0D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5" name="图片 4">
            <a:extLst>
              <a:ext uri="{FF2B5EF4-FFF2-40B4-BE49-F238E27FC236}">
                <a16:creationId xmlns:a16="http://schemas.microsoft.com/office/drawing/2014/main" id="{7097862C-F923-4BAE-895A-1A332891E9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0919" y="0"/>
            <a:ext cx="4834128" cy="5547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6609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4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DCA28965-114F-4657-AF2D-0E474DD18556}"/>
              </a:ext>
            </a:extLst>
          </p:cNvPr>
          <p:cNvSpPr/>
          <p:nvPr userDrawn="1"/>
        </p:nvSpPr>
        <p:spPr>
          <a:xfrm>
            <a:off x="2388506" y="610"/>
            <a:ext cx="7595429" cy="1919631"/>
          </a:xfrm>
          <a:custGeom>
            <a:avLst/>
            <a:gdLst>
              <a:gd name="connsiteX0" fmla="*/ 0 w 7595429"/>
              <a:gd name="connsiteY0" fmla="*/ 0 h 1919631"/>
              <a:gd name="connsiteX1" fmla="*/ 7595429 w 7595429"/>
              <a:gd name="connsiteY1" fmla="*/ 0 h 1919631"/>
              <a:gd name="connsiteX2" fmla="*/ 7578492 w 7595429"/>
              <a:gd name="connsiteY2" fmla="*/ 21265 h 1919631"/>
              <a:gd name="connsiteX3" fmla="*/ 3786149 w 7595429"/>
              <a:gd name="connsiteY3" fmla="*/ 1919631 h 1919631"/>
              <a:gd name="connsiteX4" fmla="*/ 47793 w 7595429"/>
              <a:gd name="connsiteY4" fmla="*/ 52708 h 191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5429" h="1919631">
                <a:moveTo>
                  <a:pt x="0" y="0"/>
                </a:moveTo>
                <a:lnTo>
                  <a:pt x="7595429" y="0"/>
                </a:lnTo>
                <a:lnTo>
                  <a:pt x="7578492" y="21265"/>
                </a:lnTo>
                <a:cubicBezTo>
                  <a:pt x="7169895" y="514635"/>
                  <a:pt x="5600779" y="1919631"/>
                  <a:pt x="3786149" y="1919631"/>
                </a:cubicBezTo>
                <a:cubicBezTo>
                  <a:pt x="2038728" y="1919631"/>
                  <a:pt x="525830" y="568764"/>
                  <a:pt x="47793" y="52708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E71C5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文本占位符 4">
            <a:extLst>
              <a:ext uri="{FF2B5EF4-FFF2-40B4-BE49-F238E27FC236}">
                <a16:creationId xmlns:a16="http://schemas.microsoft.com/office/drawing/2014/main" id="{DC18FFAB-5BFF-4A45-9571-234C9187C3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54993" y="140928"/>
            <a:ext cx="2282014" cy="2646878"/>
          </a:xfrm>
          <a:noFill/>
        </p:spPr>
        <p:txBody>
          <a:bodyPr vert="horz" wrap="none" lIns="0" tIns="45720" rIns="0" bIns="45720" rtlCol="0" anchor="ctr">
            <a:noAutofit/>
          </a:bodyPr>
          <a:lstStyle>
            <a:lvl1pPr>
              <a:defRPr lang="en-US" altLang="zh-CN" sz="16600" b="1" spc="600" dirty="0">
                <a:ln w="19050">
                  <a:gradFill>
                    <a:gsLst>
                      <a:gs pos="23000">
                        <a:schemeClr val="bg1"/>
                      </a:gs>
                      <a:gs pos="5600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17000">
                      <a:schemeClr val="accent1"/>
                    </a:gs>
                    <a:gs pos="58000">
                      <a:schemeClr val="accent1">
                        <a:lumMod val="75000"/>
                        <a:alpha val="55000"/>
                      </a:schemeClr>
                    </a:gs>
                    <a:gs pos="72000">
                      <a:schemeClr val="accent1">
                        <a:lumMod val="75000"/>
                        <a:alpha val="0"/>
                      </a:schemeClr>
                    </a:gs>
                  </a:gsLst>
                  <a:lin ang="5400000" scaled="1"/>
                </a:gradFill>
                <a:latin typeface="Impact" panose="020B0806030902050204" pitchFamily="34" charset="0"/>
              </a:defRPr>
            </a:lvl1pPr>
          </a:lstStyle>
          <a:p>
            <a:pPr lvl="0" algn="ctr" defTabSz="457200">
              <a:lnSpc>
                <a:spcPct val="100000"/>
              </a:lnSpc>
              <a:spcBef>
                <a:spcPts val="0"/>
              </a:spcBef>
            </a:pPr>
            <a:r>
              <a:rPr lang="en-US" altLang="zh-CN" dirty="0"/>
              <a:t>01</a:t>
            </a:r>
          </a:p>
        </p:txBody>
      </p:sp>
      <p:pic>
        <p:nvPicPr>
          <p:cNvPr id="67" name="图片 66">
            <a:extLst>
              <a:ext uri="{FF2B5EF4-FFF2-40B4-BE49-F238E27FC236}">
                <a16:creationId xmlns:a16="http://schemas.microsoft.com/office/drawing/2014/main" id="{DEAC1EDE-09F8-4618-BE15-4D8D22DE7E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609"/>
            <a:ext cx="12192000" cy="6856781"/>
          </a:xfrm>
          <a:custGeom>
            <a:avLst/>
            <a:gdLst>
              <a:gd name="connsiteX0" fmla="*/ 0 w 12192000"/>
              <a:gd name="connsiteY0" fmla="*/ 0 h 6856781"/>
              <a:gd name="connsiteX1" fmla="*/ 2388506 w 12192000"/>
              <a:gd name="connsiteY1" fmla="*/ 0 h 6856781"/>
              <a:gd name="connsiteX2" fmla="*/ 2436299 w 12192000"/>
              <a:gd name="connsiteY2" fmla="*/ 52708 h 6856781"/>
              <a:gd name="connsiteX3" fmla="*/ 6174655 w 12192000"/>
              <a:gd name="connsiteY3" fmla="*/ 1919631 h 6856781"/>
              <a:gd name="connsiteX4" fmla="*/ 9966998 w 12192000"/>
              <a:gd name="connsiteY4" fmla="*/ 21265 h 6856781"/>
              <a:gd name="connsiteX5" fmla="*/ 9983935 w 12192000"/>
              <a:gd name="connsiteY5" fmla="*/ 0 h 6856781"/>
              <a:gd name="connsiteX6" fmla="*/ 12192000 w 12192000"/>
              <a:gd name="connsiteY6" fmla="*/ 0 h 6856781"/>
              <a:gd name="connsiteX7" fmla="*/ 12192000 w 12192000"/>
              <a:gd name="connsiteY7" fmla="*/ 6856781 h 6856781"/>
              <a:gd name="connsiteX8" fmla="*/ 0 w 12192000"/>
              <a:gd name="connsiteY8" fmla="*/ 6856781 h 6856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6781">
                <a:moveTo>
                  <a:pt x="0" y="0"/>
                </a:moveTo>
                <a:lnTo>
                  <a:pt x="2388506" y="0"/>
                </a:lnTo>
                <a:lnTo>
                  <a:pt x="2436299" y="52708"/>
                </a:lnTo>
                <a:cubicBezTo>
                  <a:pt x="2914336" y="568764"/>
                  <a:pt x="4427234" y="1919631"/>
                  <a:pt x="6174655" y="1919631"/>
                </a:cubicBezTo>
                <a:cubicBezTo>
                  <a:pt x="7989285" y="1919631"/>
                  <a:pt x="9558401" y="514635"/>
                  <a:pt x="9966998" y="21265"/>
                </a:cubicBezTo>
                <a:lnTo>
                  <a:pt x="9983935" y="0"/>
                </a:lnTo>
                <a:lnTo>
                  <a:pt x="12192000" y="0"/>
                </a:lnTo>
                <a:lnTo>
                  <a:pt x="12192000" y="6856781"/>
                </a:lnTo>
                <a:lnTo>
                  <a:pt x="0" y="6856781"/>
                </a:lnTo>
                <a:close/>
              </a:path>
            </a:pathLst>
          </a:custGeom>
        </p:spPr>
      </p:pic>
      <p:grpSp>
        <p:nvGrpSpPr>
          <p:cNvPr id="68" name="组合 67">
            <a:extLst>
              <a:ext uri="{FF2B5EF4-FFF2-40B4-BE49-F238E27FC236}">
                <a16:creationId xmlns:a16="http://schemas.microsoft.com/office/drawing/2014/main" id="{8BEC06AE-0CE1-46D8-8A7F-71DE9EC3174D}"/>
              </a:ext>
            </a:extLst>
          </p:cNvPr>
          <p:cNvGrpSpPr/>
          <p:nvPr userDrawn="1"/>
        </p:nvGrpSpPr>
        <p:grpSpPr>
          <a:xfrm>
            <a:off x="5536896" y="6255328"/>
            <a:ext cx="1118208" cy="380060"/>
            <a:chOff x="1398368" y="5051425"/>
            <a:chExt cx="3242941" cy="1102222"/>
          </a:xfrm>
          <a:solidFill>
            <a:schemeClr val="bg1"/>
          </a:solidFill>
        </p:grpSpPr>
        <p:sp>
          <p:nvSpPr>
            <p:cNvPr id="69" name="Freeform 5">
              <a:extLst>
                <a:ext uri="{FF2B5EF4-FFF2-40B4-BE49-F238E27FC236}">
                  <a16:creationId xmlns:a16="http://schemas.microsoft.com/office/drawing/2014/main" id="{FF6FE2F6-E99A-496F-BF02-1AD34ED05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7">
              <a:extLst>
                <a:ext uri="{FF2B5EF4-FFF2-40B4-BE49-F238E27FC236}">
                  <a16:creationId xmlns:a16="http://schemas.microsoft.com/office/drawing/2014/main" id="{0F1D500A-AD90-463B-9E5D-BDCFB7F9E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8">
              <a:extLst>
                <a:ext uri="{FF2B5EF4-FFF2-40B4-BE49-F238E27FC236}">
                  <a16:creationId xmlns:a16="http://schemas.microsoft.com/office/drawing/2014/main" id="{7D2478E5-BD08-4FC0-B589-D57145325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2" name="组合 71">
              <a:extLst>
                <a:ext uri="{FF2B5EF4-FFF2-40B4-BE49-F238E27FC236}">
                  <a16:creationId xmlns:a16="http://schemas.microsoft.com/office/drawing/2014/main" id="{47AEF404-31C6-4179-BE76-C73AF69C000B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  <a:grpFill/>
          </p:grpSpPr>
          <p:sp>
            <p:nvSpPr>
              <p:cNvPr id="114" name="Freeform 6">
                <a:extLst>
                  <a:ext uri="{FF2B5EF4-FFF2-40B4-BE49-F238E27FC236}">
                    <a16:creationId xmlns:a16="http://schemas.microsoft.com/office/drawing/2014/main" id="{4C7BB002-B489-48A3-90E7-A5CFCFA04B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0">
                <a:extLst>
                  <a:ext uri="{FF2B5EF4-FFF2-40B4-BE49-F238E27FC236}">
                    <a16:creationId xmlns:a16="http://schemas.microsoft.com/office/drawing/2014/main" id="{E0A7F250-CBD7-444D-9490-ED677BB4B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3">
                <a:extLst>
                  <a:ext uri="{FF2B5EF4-FFF2-40B4-BE49-F238E27FC236}">
                    <a16:creationId xmlns:a16="http://schemas.microsoft.com/office/drawing/2014/main" id="{A795435A-6B3C-4E83-9CBE-A435007362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3" name="组合 72">
              <a:extLst>
                <a:ext uri="{FF2B5EF4-FFF2-40B4-BE49-F238E27FC236}">
                  <a16:creationId xmlns:a16="http://schemas.microsoft.com/office/drawing/2014/main" id="{28D3BC26-BD3C-4D1A-9195-D3CF3C117E5B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  <a:grpFill/>
          </p:grpSpPr>
          <p:sp>
            <p:nvSpPr>
              <p:cNvPr id="108" name="Freeform 9">
                <a:extLst>
                  <a:ext uri="{FF2B5EF4-FFF2-40B4-BE49-F238E27FC236}">
                    <a16:creationId xmlns:a16="http://schemas.microsoft.com/office/drawing/2014/main" id="{B0A77AE6-E3D6-4941-84BD-04E7DE8F7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1">
                <a:extLst>
                  <a:ext uri="{FF2B5EF4-FFF2-40B4-BE49-F238E27FC236}">
                    <a16:creationId xmlns:a16="http://schemas.microsoft.com/office/drawing/2014/main" id="{FB05E7AF-5DAA-4B82-B06A-0DD3180176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2">
                <a:extLst>
                  <a:ext uri="{FF2B5EF4-FFF2-40B4-BE49-F238E27FC236}">
                    <a16:creationId xmlns:a16="http://schemas.microsoft.com/office/drawing/2014/main" id="{1F4D3A21-7988-4F24-8180-6120E57831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4">
                <a:extLst>
                  <a:ext uri="{FF2B5EF4-FFF2-40B4-BE49-F238E27FC236}">
                    <a16:creationId xmlns:a16="http://schemas.microsoft.com/office/drawing/2014/main" id="{B5B5644F-19EC-4EA7-A297-BED8F9C81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15">
                <a:extLst>
                  <a:ext uri="{FF2B5EF4-FFF2-40B4-BE49-F238E27FC236}">
                    <a16:creationId xmlns:a16="http://schemas.microsoft.com/office/drawing/2014/main" id="{FB08411D-4EE4-4743-954D-0A7417F81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4" name="Freeform 16">
              <a:extLst>
                <a:ext uri="{FF2B5EF4-FFF2-40B4-BE49-F238E27FC236}">
                  <a16:creationId xmlns:a16="http://schemas.microsoft.com/office/drawing/2014/main" id="{F8A23E03-43E2-4687-9188-F849EF920C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7">
              <a:extLst>
                <a:ext uri="{FF2B5EF4-FFF2-40B4-BE49-F238E27FC236}">
                  <a16:creationId xmlns:a16="http://schemas.microsoft.com/office/drawing/2014/main" id="{200BAA2E-DE9B-483B-B3AF-921173CC97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18">
              <a:extLst>
                <a:ext uri="{FF2B5EF4-FFF2-40B4-BE49-F238E27FC236}">
                  <a16:creationId xmlns:a16="http://schemas.microsoft.com/office/drawing/2014/main" id="{E2C0427E-B4FC-4EA8-9ACD-DB0E692C80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9">
              <a:extLst>
                <a:ext uri="{FF2B5EF4-FFF2-40B4-BE49-F238E27FC236}">
                  <a16:creationId xmlns:a16="http://schemas.microsoft.com/office/drawing/2014/main" id="{D1554841-D628-4AF3-8CE0-31DA6D34A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0">
              <a:extLst>
                <a:ext uri="{FF2B5EF4-FFF2-40B4-BE49-F238E27FC236}">
                  <a16:creationId xmlns:a16="http://schemas.microsoft.com/office/drawing/2014/main" id="{63A49090-C609-466E-B04F-4DE08B9CB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1">
              <a:extLst>
                <a:ext uri="{FF2B5EF4-FFF2-40B4-BE49-F238E27FC236}">
                  <a16:creationId xmlns:a16="http://schemas.microsoft.com/office/drawing/2014/main" id="{897FB3E3-BDB8-4359-8BAD-FF78C904D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2">
              <a:extLst>
                <a:ext uri="{FF2B5EF4-FFF2-40B4-BE49-F238E27FC236}">
                  <a16:creationId xmlns:a16="http://schemas.microsoft.com/office/drawing/2014/main" id="{A2E496F4-9130-42AC-9EBC-2FCE9822F0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3">
              <a:extLst>
                <a:ext uri="{FF2B5EF4-FFF2-40B4-BE49-F238E27FC236}">
                  <a16:creationId xmlns:a16="http://schemas.microsoft.com/office/drawing/2014/main" id="{B4E6EC26-26C3-4C04-9677-E89856AD5E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4">
              <a:extLst>
                <a:ext uri="{FF2B5EF4-FFF2-40B4-BE49-F238E27FC236}">
                  <a16:creationId xmlns:a16="http://schemas.microsoft.com/office/drawing/2014/main" id="{48F0C619-4048-404C-9618-05BDEE166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5">
              <a:extLst>
                <a:ext uri="{FF2B5EF4-FFF2-40B4-BE49-F238E27FC236}">
                  <a16:creationId xmlns:a16="http://schemas.microsoft.com/office/drawing/2014/main" id="{7D559D9D-47DA-436A-9E34-47CB65637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6">
              <a:extLst>
                <a:ext uri="{FF2B5EF4-FFF2-40B4-BE49-F238E27FC236}">
                  <a16:creationId xmlns:a16="http://schemas.microsoft.com/office/drawing/2014/main" id="{E020E7C8-96D6-40F0-8CAE-72915DCC61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7">
              <a:extLst>
                <a:ext uri="{FF2B5EF4-FFF2-40B4-BE49-F238E27FC236}">
                  <a16:creationId xmlns:a16="http://schemas.microsoft.com/office/drawing/2014/main" id="{F0221192-1012-4FE6-98CD-A251CE0DE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8">
              <a:extLst>
                <a:ext uri="{FF2B5EF4-FFF2-40B4-BE49-F238E27FC236}">
                  <a16:creationId xmlns:a16="http://schemas.microsoft.com/office/drawing/2014/main" id="{5F0DCBC5-2EF5-47D6-973D-FBE1BDE6EF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F1E4BF93-4998-4191-83BB-1F9F4E689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D546C16C-DEAB-4A20-98D5-DE4CEFC69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A7D3D87E-9B5A-4747-84F1-246F3E1C1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63E6A8F-C568-4F0B-9D8B-838212E9A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3">
              <a:extLst>
                <a:ext uri="{FF2B5EF4-FFF2-40B4-BE49-F238E27FC236}">
                  <a16:creationId xmlns:a16="http://schemas.microsoft.com/office/drawing/2014/main" id="{79EE4D54-E240-44F9-80C2-8B6E78499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4">
              <a:extLst>
                <a:ext uri="{FF2B5EF4-FFF2-40B4-BE49-F238E27FC236}">
                  <a16:creationId xmlns:a16="http://schemas.microsoft.com/office/drawing/2014/main" id="{4D4D9890-BDB5-477F-ABA7-5E7361282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5">
              <a:extLst>
                <a:ext uri="{FF2B5EF4-FFF2-40B4-BE49-F238E27FC236}">
                  <a16:creationId xmlns:a16="http://schemas.microsoft.com/office/drawing/2014/main" id="{0F81DE4B-4368-4941-B787-9551EB6C1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36">
              <a:extLst>
                <a:ext uri="{FF2B5EF4-FFF2-40B4-BE49-F238E27FC236}">
                  <a16:creationId xmlns:a16="http://schemas.microsoft.com/office/drawing/2014/main" id="{0747B8BD-FDAD-49DA-B3CE-2EFEF4DE2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37">
              <a:extLst>
                <a:ext uri="{FF2B5EF4-FFF2-40B4-BE49-F238E27FC236}">
                  <a16:creationId xmlns:a16="http://schemas.microsoft.com/office/drawing/2014/main" id="{45447C61-1E85-416E-B524-156AF716A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8">
              <a:extLst>
                <a:ext uri="{FF2B5EF4-FFF2-40B4-BE49-F238E27FC236}">
                  <a16:creationId xmlns:a16="http://schemas.microsoft.com/office/drawing/2014/main" id="{B9CAE753-516F-47AA-9802-3E0D159C9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9">
              <a:extLst>
                <a:ext uri="{FF2B5EF4-FFF2-40B4-BE49-F238E27FC236}">
                  <a16:creationId xmlns:a16="http://schemas.microsoft.com/office/drawing/2014/main" id="{190ACAA0-8AD1-4BA3-984F-EFD44B5FB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0">
              <a:extLst>
                <a:ext uri="{FF2B5EF4-FFF2-40B4-BE49-F238E27FC236}">
                  <a16:creationId xmlns:a16="http://schemas.microsoft.com/office/drawing/2014/main" id="{C4D1EB16-7414-4B7A-8764-5334F0029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1">
              <a:extLst>
                <a:ext uri="{FF2B5EF4-FFF2-40B4-BE49-F238E27FC236}">
                  <a16:creationId xmlns:a16="http://schemas.microsoft.com/office/drawing/2014/main" id="{0500F95D-0AD2-4972-AFA1-526D77406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2">
              <a:extLst>
                <a:ext uri="{FF2B5EF4-FFF2-40B4-BE49-F238E27FC236}">
                  <a16:creationId xmlns:a16="http://schemas.microsoft.com/office/drawing/2014/main" id="{141E49FA-7898-4983-837D-EB2626E1A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3">
              <a:extLst>
                <a:ext uri="{FF2B5EF4-FFF2-40B4-BE49-F238E27FC236}">
                  <a16:creationId xmlns:a16="http://schemas.microsoft.com/office/drawing/2014/main" id="{77D1C810-36A0-4077-A558-38688412B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4">
              <a:extLst>
                <a:ext uri="{FF2B5EF4-FFF2-40B4-BE49-F238E27FC236}">
                  <a16:creationId xmlns:a16="http://schemas.microsoft.com/office/drawing/2014/main" id="{7324D0B0-4B6C-49B2-A3FC-111129C8E4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5">
              <a:extLst>
                <a:ext uri="{FF2B5EF4-FFF2-40B4-BE49-F238E27FC236}">
                  <a16:creationId xmlns:a16="http://schemas.microsoft.com/office/drawing/2014/main" id="{EB3BF0D5-6099-47F3-ADFA-5A424753C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46">
              <a:extLst>
                <a:ext uri="{FF2B5EF4-FFF2-40B4-BE49-F238E27FC236}">
                  <a16:creationId xmlns:a16="http://schemas.microsoft.com/office/drawing/2014/main" id="{D5FE76DE-BC57-4DEE-9FA0-AD8AE2606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47">
              <a:extLst>
                <a:ext uri="{FF2B5EF4-FFF2-40B4-BE49-F238E27FC236}">
                  <a16:creationId xmlns:a16="http://schemas.microsoft.com/office/drawing/2014/main" id="{B025B437-F41F-433D-A92A-A2ACA9B40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48">
              <a:extLst>
                <a:ext uri="{FF2B5EF4-FFF2-40B4-BE49-F238E27FC236}">
                  <a16:creationId xmlns:a16="http://schemas.microsoft.com/office/drawing/2014/main" id="{D1B01482-A142-449D-976F-94FF0A0B5E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49">
              <a:extLst>
                <a:ext uri="{FF2B5EF4-FFF2-40B4-BE49-F238E27FC236}">
                  <a16:creationId xmlns:a16="http://schemas.microsoft.com/office/drawing/2014/main" id="{4F33EF39-0735-40C7-BC20-D9F53A784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20" name="直接连接符 119">
            <a:extLst>
              <a:ext uri="{FF2B5EF4-FFF2-40B4-BE49-F238E27FC236}">
                <a16:creationId xmlns:a16="http://schemas.microsoft.com/office/drawing/2014/main" id="{9489EDBC-D2D4-472C-A87A-B3F6E6F533D8}"/>
              </a:ext>
            </a:extLst>
          </p:cNvPr>
          <p:cNvCxnSpPr>
            <a:cxnSpLocks/>
          </p:cNvCxnSpPr>
          <p:nvPr userDrawn="1"/>
        </p:nvCxnSpPr>
        <p:spPr>
          <a:xfrm>
            <a:off x="2049780" y="5551166"/>
            <a:ext cx="8092440" cy="0"/>
          </a:xfrm>
          <a:prstGeom prst="line">
            <a:avLst/>
          </a:prstGeom>
          <a:ln>
            <a:solidFill>
              <a:schemeClr val="accent6"/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标题 1">
            <a:extLst>
              <a:ext uri="{FF2B5EF4-FFF2-40B4-BE49-F238E27FC236}">
                <a16:creationId xmlns:a16="http://schemas.microsoft.com/office/drawing/2014/main" id="{AE66D3FE-3BF3-4CE6-9D9E-C6A2DEE052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23908" y="2757325"/>
            <a:ext cx="6744184" cy="923330"/>
          </a:xfr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accent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62" name="副标题 2">
            <a:extLst>
              <a:ext uri="{FF2B5EF4-FFF2-40B4-BE49-F238E27FC236}">
                <a16:creationId xmlns:a16="http://schemas.microsoft.com/office/drawing/2014/main" id="{B2B0A65A-773F-4104-BF52-A1C39F9E21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23908" y="3701199"/>
            <a:ext cx="6744184" cy="331948"/>
          </a:xfr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943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5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图片 66">
            <a:extLst>
              <a:ext uri="{FF2B5EF4-FFF2-40B4-BE49-F238E27FC236}">
                <a16:creationId xmlns:a16="http://schemas.microsoft.com/office/drawing/2014/main" id="{43FEE9E2-ED54-498D-A08A-3EF5ACB90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2" name="组合 61">
            <a:extLst>
              <a:ext uri="{FF2B5EF4-FFF2-40B4-BE49-F238E27FC236}">
                <a16:creationId xmlns:a16="http://schemas.microsoft.com/office/drawing/2014/main" id="{164A5006-7779-4570-BEB0-20C920DE8B56}"/>
              </a:ext>
            </a:extLst>
          </p:cNvPr>
          <p:cNvGrpSpPr/>
          <p:nvPr userDrawn="1"/>
        </p:nvGrpSpPr>
        <p:grpSpPr>
          <a:xfrm>
            <a:off x="2743490" y="194553"/>
            <a:ext cx="6468898" cy="6468896"/>
            <a:chOff x="2551832" y="5787"/>
            <a:chExt cx="6852213" cy="6852213"/>
          </a:xfrm>
        </p:grpSpPr>
        <p:sp>
          <p:nvSpPr>
            <p:cNvPr id="64" name="椭圆 63">
              <a:extLst>
                <a:ext uri="{FF2B5EF4-FFF2-40B4-BE49-F238E27FC236}">
                  <a16:creationId xmlns:a16="http://schemas.microsoft.com/office/drawing/2014/main" id="{1827CC51-C56D-4E08-997F-1E385B74EC01}"/>
                </a:ext>
              </a:extLst>
            </p:cNvPr>
            <p:cNvSpPr/>
            <p:nvPr/>
          </p:nvSpPr>
          <p:spPr>
            <a:xfrm>
              <a:off x="2551832" y="5787"/>
              <a:ext cx="6852213" cy="6852213"/>
            </a:xfrm>
            <a:prstGeom prst="ellipse">
              <a:avLst/>
            </a:prstGeom>
            <a:pattFill prst="lt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76200" cap="flat" cmpd="thickThin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椭圆 64">
              <a:extLst>
                <a:ext uri="{FF2B5EF4-FFF2-40B4-BE49-F238E27FC236}">
                  <a16:creationId xmlns:a16="http://schemas.microsoft.com/office/drawing/2014/main" id="{349E2725-7D53-42C9-913C-441D7D3A52EA}"/>
                </a:ext>
              </a:extLst>
            </p:cNvPr>
            <p:cNvSpPr/>
            <p:nvPr/>
          </p:nvSpPr>
          <p:spPr>
            <a:xfrm>
              <a:off x="2689956" y="143911"/>
              <a:ext cx="6575964" cy="6575964"/>
            </a:xfrm>
            <a:prstGeom prst="ellips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ysDash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pattFill prst="ltUpDiag">
                    <a:fgClr>
                      <a:schemeClr val="bg1">
                        <a:lumMod val="95000"/>
                      </a:schemeClr>
                    </a:fgClr>
                    <a:bgClr>
                      <a:schemeClr val="bg1"/>
                    </a:bgClr>
                  </a:patt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副标题 2">
            <a:extLst>
              <a:ext uri="{FF2B5EF4-FFF2-40B4-BE49-F238E27FC236}">
                <a16:creationId xmlns:a16="http://schemas.microsoft.com/office/drawing/2014/main" id="{03D09422-1677-44B9-B243-B6350395E3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16158" y="4202383"/>
            <a:ext cx="5923562" cy="331948"/>
          </a:xfrm>
        </p:spPr>
        <p:txBody>
          <a:bodyPr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57" name="标题 1">
            <a:extLst>
              <a:ext uri="{FF2B5EF4-FFF2-40B4-BE49-F238E27FC236}">
                <a16:creationId xmlns:a16="http://schemas.microsoft.com/office/drawing/2014/main" id="{C116151F-A129-497F-A036-47A94529A9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2837" y="3270084"/>
            <a:ext cx="6210204" cy="923330"/>
          </a:xfrm>
        </p:spPr>
        <p:txBody>
          <a:bodyPr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accent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cxnSp>
        <p:nvCxnSpPr>
          <p:cNvPr id="117" name="直接连接符 116">
            <a:extLst>
              <a:ext uri="{FF2B5EF4-FFF2-40B4-BE49-F238E27FC236}">
                <a16:creationId xmlns:a16="http://schemas.microsoft.com/office/drawing/2014/main" id="{1A3FA63B-C86F-4E7F-BFBF-F2D00CCC8F1B}"/>
              </a:ext>
            </a:extLst>
          </p:cNvPr>
          <p:cNvCxnSpPr>
            <a:cxnSpLocks/>
          </p:cNvCxnSpPr>
          <p:nvPr userDrawn="1"/>
        </p:nvCxnSpPr>
        <p:spPr>
          <a:xfrm>
            <a:off x="3726575" y="4801512"/>
            <a:ext cx="450272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文本占位符 4">
            <a:extLst>
              <a:ext uri="{FF2B5EF4-FFF2-40B4-BE49-F238E27FC236}">
                <a16:creationId xmlns:a16="http://schemas.microsoft.com/office/drawing/2014/main" id="{57CBDB1E-E389-4F8B-AEE3-11A7950AE8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36932" y="1142999"/>
            <a:ext cx="2282014" cy="2000179"/>
          </a:xfrm>
        </p:spPr>
        <p:txBody>
          <a:bodyPr vert="horz" wrap="none" lIns="0" tIns="0" rIns="0" bIns="0" rtlCol="0" anchor="ctr" anchorCtr="0">
            <a:noAutofit/>
          </a:bodyPr>
          <a:lstStyle>
            <a:lvl1pPr>
              <a:defRPr lang="en-US" altLang="zh-CN" sz="16600" b="1" spc="600" dirty="0">
                <a:ln w="19050">
                  <a:gradFill>
                    <a:gsLst>
                      <a:gs pos="23000">
                        <a:schemeClr val="bg1"/>
                      </a:gs>
                      <a:gs pos="5600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5400000" scaled="1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Impact" panose="020B0806030902050204" pitchFamily="34" charset="0"/>
              </a:defRPr>
            </a:lvl1pPr>
          </a:lstStyle>
          <a:p>
            <a:pPr lvl="0" algn="ctr" defTabSz="457200">
              <a:lnSpc>
                <a:spcPct val="100000"/>
              </a:lnSpc>
              <a:spcBef>
                <a:spcPts val="0"/>
              </a:spcBef>
              <a:buFontTx/>
            </a:pPr>
            <a:r>
              <a:rPr lang="en-US" altLang="zh-CN" dirty="0"/>
              <a:t>01</a:t>
            </a:r>
          </a:p>
        </p:txBody>
      </p:sp>
      <p:cxnSp>
        <p:nvCxnSpPr>
          <p:cNvPr id="119" name="直接连接符 118">
            <a:extLst>
              <a:ext uri="{FF2B5EF4-FFF2-40B4-BE49-F238E27FC236}">
                <a16:creationId xmlns:a16="http://schemas.microsoft.com/office/drawing/2014/main" id="{4AEAD08A-6ABB-4F06-93DF-3BE0E1990766}"/>
              </a:ext>
            </a:extLst>
          </p:cNvPr>
          <p:cNvCxnSpPr/>
          <p:nvPr userDrawn="1"/>
        </p:nvCxnSpPr>
        <p:spPr>
          <a:xfrm>
            <a:off x="5494041" y="3175193"/>
            <a:ext cx="967796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组合 120">
            <a:extLst>
              <a:ext uri="{FF2B5EF4-FFF2-40B4-BE49-F238E27FC236}">
                <a16:creationId xmlns:a16="http://schemas.microsoft.com/office/drawing/2014/main" id="{1ED71A84-1A2F-4911-A333-41E18B268DC0}"/>
              </a:ext>
            </a:extLst>
          </p:cNvPr>
          <p:cNvGrpSpPr/>
          <p:nvPr userDrawn="1"/>
        </p:nvGrpSpPr>
        <p:grpSpPr>
          <a:xfrm>
            <a:off x="5271326" y="5012318"/>
            <a:ext cx="1413226" cy="480332"/>
            <a:chOff x="1398368" y="5051425"/>
            <a:chExt cx="3242941" cy="1102222"/>
          </a:xfrm>
          <a:solidFill>
            <a:schemeClr val="accent1"/>
          </a:solidFill>
        </p:grpSpPr>
        <p:sp>
          <p:nvSpPr>
            <p:cNvPr id="122" name="Freeform 5">
              <a:extLst>
                <a:ext uri="{FF2B5EF4-FFF2-40B4-BE49-F238E27FC236}">
                  <a16:creationId xmlns:a16="http://schemas.microsoft.com/office/drawing/2014/main" id="{51531853-1772-4613-91F1-852278D94F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7">
              <a:extLst>
                <a:ext uri="{FF2B5EF4-FFF2-40B4-BE49-F238E27FC236}">
                  <a16:creationId xmlns:a16="http://schemas.microsoft.com/office/drawing/2014/main" id="{68BBEF23-041B-4D52-A450-17E6F9B4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8">
              <a:extLst>
                <a:ext uri="{FF2B5EF4-FFF2-40B4-BE49-F238E27FC236}">
                  <a16:creationId xmlns:a16="http://schemas.microsoft.com/office/drawing/2014/main" id="{BF6DE9C0-0FFD-495A-BE40-3507718CE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5" name="组合 124">
              <a:extLst>
                <a:ext uri="{FF2B5EF4-FFF2-40B4-BE49-F238E27FC236}">
                  <a16:creationId xmlns:a16="http://schemas.microsoft.com/office/drawing/2014/main" id="{61232067-04C2-499B-A483-CCAB89FC4C51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  <a:grpFill/>
          </p:grpSpPr>
          <p:sp>
            <p:nvSpPr>
              <p:cNvPr id="166" name="Freeform 6">
                <a:extLst>
                  <a:ext uri="{FF2B5EF4-FFF2-40B4-BE49-F238E27FC236}">
                    <a16:creationId xmlns:a16="http://schemas.microsoft.com/office/drawing/2014/main" id="{4DFF6853-4A87-48D8-A14C-744D67D854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0">
                <a:extLst>
                  <a:ext uri="{FF2B5EF4-FFF2-40B4-BE49-F238E27FC236}">
                    <a16:creationId xmlns:a16="http://schemas.microsoft.com/office/drawing/2014/main" id="{2A0DDB4E-8244-46BD-A7D5-AE43A28F4E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13">
                <a:extLst>
                  <a:ext uri="{FF2B5EF4-FFF2-40B4-BE49-F238E27FC236}">
                    <a16:creationId xmlns:a16="http://schemas.microsoft.com/office/drawing/2014/main" id="{8E229A6E-71C4-4627-BA02-FCCAF40A8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6" name="组合 125">
              <a:extLst>
                <a:ext uri="{FF2B5EF4-FFF2-40B4-BE49-F238E27FC236}">
                  <a16:creationId xmlns:a16="http://schemas.microsoft.com/office/drawing/2014/main" id="{F756C8FA-F22A-4AA2-930A-1D6F61807CAD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  <a:grpFill/>
          </p:grpSpPr>
          <p:sp>
            <p:nvSpPr>
              <p:cNvPr id="161" name="Freeform 9">
                <a:extLst>
                  <a:ext uri="{FF2B5EF4-FFF2-40B4-BE49-F238E27FC236}">
                    <a16:creationId xmlns:a16="http://schemas.microsoft.com/office/drawing/2014/main" id="{BC8CD2B5-5768-4D7E-989E-07A55C3814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1">
                <a:extLst>
                  <a:ext uri="{FF2B5EF4-FFF2-40B4-BE49-F238E27FC236}">
                    <a16:creationId xmlns:a16="http://schemas.microsoft.com/office/drawing/2014/main" id="{AF5A566F-5B2C-49E8-865B-85A89C9C43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2">
                <a:extLst>
                  <a:ext uri="{FF2B5EF4-FFF2-40B4-BE49-F238E27FC236}">
                    <a16:creationId xmlns:a16="http://schemas.microsoft.com/office/drawing/2014/main" id="{92ECD085-A2DC-467F-BEAD-F3A440741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14">
                <a:extLst>
                  <a:ext uri="{FF2B5EF4-FFF2-40B4-BE49-F238E27FC236}">
                    <a16:creationId xmlns:a16="http://schemas.microsoft.com/office/drawing/2014/main" id="{323558E0-C194-44B3-AE69-973B6C8A4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15">
                <a:extLst>
                  <a:ext uri="{FF2B5EF4-FFF2-40B4-BE49-F238E27FC236}">
                    <a16:creationId xmlns:a16="http://schemas.microsoft.com/office/drawing/2014/main" id="{A6E0A8DF-AEC2-49A4-A842-EAF6E22026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7" name="Freeform 16">
              <a:extLst>
                <a:ext uri="{FF2B5EF4-FFF2-40B4-BE49-F238E27FC236}">
                  <a16:creationId xmlns:a16="http://schemas.microsoft.com/office/drawing/2014/main" id="{7305AF94-0F70-4328-8F52-496E4ED058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7">
              <a:extLst>
                <a:ext uri="{FF2B5EF4-FFF2-40B4-BE49-F238E27FC236}">
                  <a16:creationId xmlns:a16="http://schemas.microsoft.com/office/drawing/2014/main" id="{AFA9D378-562D-4A19-B22B-CA8CA860CA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18">
              <a:extLst>
                <a:ext uri="{FF2B5EF4-FFF2-40B4-BE49-F238E27FC236}">
                  <a16:creationId xmlns:a16="http://schemas.microsoft.com/office/drawing/2014/main" id="{DABB91CD-3A1F-461C-83B8-477A021915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9">
              <a:extLst>
                <a:ext uri="{FF2B5EF4-FFF2-40B4-BE49-F238E27FC236}">
                  <a16:creationId xmlns:a16="http://schemas.microsoft.com/office/drawing/2014/main" id="{4DA26D74-09DC-499C-B8F8-CCD2D2E59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0">
              <a:extLst>
                <a:ext uri="{FF2B5EF4-FFF2-40B4-BE49-F238E27FC236}">
                  <a16:creationId xmlns:a16="http://schemas.microsoft.com/office/drawing/2014/main" id="{68F6374A-1C33-4EEB-B9B8-033175336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1">
              <a:extLst>
                <a:ext uri="{FF2B5EF4-FFF2-40B4-BE49-F238E27FC236}">
                  <a16:creationId xmlns:a16="http://schemas.microsoft.com/office/drawing/2014/main" id="{F124E39A-4C74-4B65-B675-8A57D7A1A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2">
              <a:extLst>
                <a:ext uri="{FF2B5EF4-FFF2-40B4-BE49-F238E27FC236}">
                  <a16:creationId xmlns:a16="http://schemas.microsoft.com/office/drawing/2014/main" id="{7DE84CF4-6301-4CB1-806D-02265C9D41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3">
              <a:extLst>
                <a:ext uri="{FF2B5EF4-FFF2-40B4-BE49-F238E27FC236}">
                  <a16:creationId xmlns:a16="http://schemas.microsoft.com/office/drawing/2014/main" id="{97DB8314-4C49-4B7A-BDAA-8D7D00A086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24">
              <a:extLst>
                <a:ext uri="{FF2B5EF4-FFF2-40B4-BE49-F238E27FC236}">
                  <a16:creationId xmlns:a16="http://schemas.microsoft.com/office/drawing/2014/main" id="{C3081801-779D-4C7B-93DE-9E47814EC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25">
              <a:extLst>
                <a:ext uri="{FF2B5EF4-FFF2-40B4-BE49-F238E27FC236}">
                  <a16:creationId xmlns:a16="http://schemas.microsoft.com/office/drawing/2014/main" id="{1B6BC2E1-BD48-4283-8112-0BB4D1B78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26">
              <a:extLst>
                <a:ext uri="{FF2B5EF4-FFF2-40B4-BE49-F238E27FC236}">
                  <a16:creationId xmlns:a16="http://schemas.microsoft.com/office/drawing/2014/main" id="{20F5C8E4-3DE2-4B81-9369-E967B0CFA0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27">
              <a:extLst>
                <a:ext uri="{FF2B5EF4-FFF2-40B4-BE49-F238E27FC236}">
                  <a16:creationId xmlns:a16="http://schemas.microsoft.com/office/drawing/2014/main" id="{76737C7C-E788-42D4-A67F-58846F82A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28">
              <a:extLst>
                <a:ext uri="{FF2B5EF4-FFF2-40B4-BE49-F238E27FC236}">
                  <a16:creationId xmlns:a16="http://schemas.microsoft.com/office/drawing/2014/main" id="{8CA1D4A8-07F9-46CF-9C2E-D0D46046A5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9">
              <a:extLst>
                <a:ext uri="{FF2B5EF4-FFF2-40B4-BE49-F238E27FC236}">
                  <a16:creationId xmlns:a16="http://schemas.microsoft.com/office/drawing/2014/main" id="{ED42C73C-F329-4235-BA2A-229F913C0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0">
              <a:extLst>
                <a:ext uri="{FF2B5EF4-FFF2-40B4-BE49-F238E27FC236}">
                  <a16:creationId xmlns:a16="http://schemas.microsoft.com/office/drawing/2014/main" id="{F2E865B4-5513-4B97-8FCB-8A0B5EC7D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1">
              <a:extLst>
                <a:ext uri="{FF2B5EF4-FFF2-40B4-BE49-F238E27FC236}">
                  <a16:creationId xmlns:a16="http://schemas.microsoft.com/office/drawing/2014/main" id="{E4D3F8B5-650D-4518-9318-A5F104244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2">
              <a:extLst>
                <a:ext uri="{FF2B5EF4-FFF2-40B4-BE49-F238E27FC236}">
                  <a16:creationId xmlns:a16="http://schemas.microsoft.com/office/drawing/2014/main" id="{ABAFD7C4-AE94-459A-ACA6-184D983AF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3">
              <a:extLst>
                <a:ext uri="{FF2B5EF4-FFF2-40B4-BE49-F238E27FC236}">
                  <a16:creationId xmlns:a16="http://schemas.microsoft.com/office/drawing/2014/main" id="{2F239707-C6B6-4B0F-9D94-E9159742D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4">
              <a:extLst>
                <a:ext uri="{FF2B5EF4-FFF2-40B4-BE49-F238E27FC236}">
                  <a16:creationId xmlns:a16="http://schemas.microsoft.com/office/drawing/2014/main" id="{414EE9B5-0CEA-451C-9D5D-6B72A3A14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5">
              <a:extLst>
                <a:ext uri="{FF2B5EF4-FFF2-40B4-BE49-F238E27FC236}">
                  <a16:creationId xmlns:a16="http://schemas.microsoft.com/office/drawing/2014/main" id="{3A1350C9-8F2F-4ABC-A3EC-F483EB7AB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6">
              <a:extLst>
                <a:ext uri="{FF2B5EF4-FFF2-40B4-BE49-F238E27FC236}">
                  <a16:creationId xmlns:a16="http://schemas.microsoft.com/office/drawing/2014/main" id="{4D0D2D75-D2D5-4CF1-BEBE-936C5C73C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7">
              <a:extLst>
                <a:ext uri="{FF2B5EF4-FFF2-40B4-BE49-F238E27FC236}">
                  <a16:creationId xmlns:a16="http://schemas.microsoft.com/office/drawing/2014/main" id="{6D490D4F-B95D-491A-AD3E-807C8053B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8">
              <a:extLst>
                <a:ext uri="{FF2B5EF4-FFF2-40B4-BE49-F238E27FC236}">
                  <a16:creationId xmlns:a16="http://schemas.microsoft.com/office/drawing/2014/main" id="{D884ED50-BE32-4C86-98BD-F080657D1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9">
              <a:extLst>
                <a:ext uri="{FF2B5EF4-FFF2-40B4-BE49-F238E27FC236}">
                  <a16:creationId xmlns:a16="http://schemas.microsoft.com/office/drawing/2014/main" id="{B3E7C27E-1034-4898-83E1-52959D344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0">
              <a:extLst>
                <a:ext uri="{FF2B5EF4-FFF2-40B4-BE49-F238E27FC236}">
                  <a16:creationId xmlns:a16="http://schemas.microsoft.com/office/drawing/2014/main" id="{06556AF5-5326-495C-88F7-25D5619DE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1">
              <a:extLst>
                <a:ext uri="{FF2B5EF4-FFF2-40B4-BE49-F238E27FC236}">
                  <a16:creationId xmlns:a16="http://schemas.microsoft.com/office/drawing/2014/main" id="{04A1C966-3403-4266-945D-BA3471578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2">
              <a:extLst>
                <a:ext uri="{FF2B5EF4-FFF2-40B4-BE49-F238E27FC236}">
                  <a16:creationId xmlns:a16="http://schemas.microsoft.com/office/drawing/2014/main" id="{2A35B206-E41E-4DD7-A308-F1394C455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43">
              <a:extLst>
                <a:ext uri="{FF2B5EF4-FFF2-40B4-BE49-F238E27FC236}">
                  <a16:creationId xmlns:a16="http://schemas.microsoft.com/office/drawing/2014/main" id="{F8EA50D6-A680-41F6-B432-7AF4180BE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44">
              <a:extLst>
                <a:ext uri="{FF2B5EF4-FFF2-40B4-BE49-F238E27FC236}">
                  <a16:creationId xmlns:a16="http://schemas.microsoft.com/office/drawing/2014/main" id="{DF838283-DBB1-4BDA-B718-A02F12EB0C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45">
              <a:extLst>
                <a:ext uri="{FF2B5EF4-FFF2-40B4-BE49-F238E27FC236}">
                  <a16:creationId xmlns:a16="http://schemas.microsoft.com/office/drawing/2014/main" id="{AAFF6B96-278C-44B4-9088-47CE9295B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46">
              <a:extLst>
                <a:ext uri="{FF2B5EF4-FFF2-40B4-BE49-F238E27FC236}">
                  <a16:creationId xmlns:a16="http://schemas.microsoft.com/office/drawing/2014/main" id="{8B6A4CAD-396C-4D2E-8853-E9D551884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47">
              <a:extLst>
                <a:ext uri="{FF2B5EF4-FFF2-40B4-BE49-F238E27FC236}">
                  <a16:creationId xmlns:a16="http://schemas.microsoft.com/office/drawing/2014/main" id="{965FF6DD-1BC9-4B3F-9E17-7BCB656CF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48">
              <a:extLst>
                <a:ext uri="{FF2B5EF4-FFF2-40B4-BE49-F238E27FC236}">
                  <a16:creationId xmlns:a16="http://schemas.microsoft.com/office/drawing/2014/main" id="{55B1D662-8CDE-4283-9255-2100A99A8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49">
              <a:extLst>
                <a:ext uri="{FF2B5EF4-FFF2-40B4-BE49-F238E27FC236}">
                  <a16:creationId xmlns:a16="http://schemas.microsoft.com/office/drawing/2014/main" id="{BB532C51-9366-49B0-9EE7-13D930F91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936939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图片 73">
            <a:extLst>
              <a:ext uri="{FF2B5EF4-FFF2-40B4-BE49-F238E27FC236}">
                <a16:creationId xmlns:a16="http://schemas.microsoft.com/office/drawing/2014/main" id="{47F4B9A8-AA4E-4ECB-A196-FDD75225D2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176" y="675314"/>
            <a:ext cx="10424160" cy="55073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9FFCDE89-C0B6-426E-8763-892FC45DD85D}"/>
              </a:ext>
            </a:extLst>
          </p:cNvPr>
          <p:cNvSpPr/>
          <p:nvPr userDrawn="1"/>
        </p:nvSpPr>
        <p:spPr>
          <a:xfrm flipV="1">
            <a:off x="515938" y="1546857"/>
            <a:ext cx="11196637" cy="3764281"/>
          </a:xfrm>
          <a:custGeom>
            <a:avLst/>
            <a:gdLst>
              <a:gd name="connsiteX0" fmla="*/ 0 w 11883342"/>
              <a:gd name="connsiteY0" fmla="*/ 3764281 h 3764281"/>
              <a:gd name="connsiteX1" fmla="*/ 11883342 w 11883342"/>
              <a:gd name="connsiteY1" fmla="*/ 3764281 h 3764281"/>
              <a:gd name="connsiteX2" fmla="*/ 11883342 w 11883342"/>
              <a:gd name="connsiteY2" fmla="*/ 2064030 h 3764281"/>
              <a:gd name="connsiteX3" fmla="*/ 11689634 w 11883342"/>
              <a:gd name="connsiteY3" fmla="*/ 1882140 h 3764281"/>
              <a:gd name="connsiteX4" fmla="*/ 11883342 w 11883342"/>
              <a:gd name="connsiteY4" fmla="*/ 1700251 h 3764281"/>
              <a:gd name="connsiteX5" fmla="*/ 11883342 w 11883342"/>
              <a:gd name="connsiteY5" fmla="*/ 0 h 3764281"/>
              <a:gd name="connsiteX6" fmla="*/ 0 w 11883342"/>
              <a:gd name="connsiteY6" fmla="*/ 0 h 3764281"/>
              <a:gd name="connsiteX7" fmla="*/ 0 w 11883342"/>
              <a:gd name="connsiteY7" fmla="*/ 1700251 h 3764281"/>
              <a:gd name="connsiteX8" fmla="*/ 193708 w 11883342"/>
              <a:gd name="connsiteY8" fmla="*/ 1882140 h 3764281"/>
              <a:gd name="connsiteX9" fmla="*/ 0 w 11883342"/>
              <a:gd name="connsiteY9" fmla="*/ 2064030 h 3764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883342" h="3764281">
                <a:moveTo>
                  <a:pt x="0" y="3764281"/>
                </a:moveTo>
                <a:lnTo>
                  <a:pt x="11883342" y="3764281"/>
                </a:lnTo>
                <a:lnTo>
                  <a:pt x="11883342" y="2064030"/>
                </a:lnTo>
                <a:lnTo>
                  <a:pt x="11689634" y="1882140"/>
                </a:lnTo>
                <a:lnTo>
                  <a:pt x="11883342" y="1700251"/>
                </a:lnTo>
                <a:lnTo>
                  <a:pt x="11883342" y="0"/>
                </a:lnTo>
                <a:lnTo>
                  <a:pt x="0" y="0"/>
                </a:lnTo>
                <a:lnTo>
                  <a:pt x="0" y="1700251"/>
                </a:lnTo>
                <a:lnTo>
                  <a:pt x="193708" y="1882140"/>
                </a:lnTo>
                <a:lnTo>
                  <a:pt x="0" y="206403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5505" y="2268921"/>
            <a:ext cx="7737502" cy="923330"/>
          </a:xfrm>
          <a:noFill/>
        </p:spPr>
        <p:txBody>
          <a:bodyPr wrap="square" lIns="0" rIns="0" rtlCol="0" anchor="ctr">
            <a:noAutofit/>
          </a:bodyPr>
          <a:lstStyle>
            <a:lvl1pPr algn="ctr">
              <a:defRPr lang="en-US" sz="5400" b="1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marL="0" lvl="0" algn="dist" defTabSz="457200"/>
            <a:endParaRPr lang="en-US" dirty="0"/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A7E5B227-CDCE-4680-B5CE-4ADF3BAFA804}"/>
              </a:ext>
            </a:extLst>
          </p:cNvPr>
          <p:cNvSpPr/>
          <p:nvPr userDrawn="1"/>
        </p:nvSpPr>
        <p:spPr>
          <a:xfrm>
            <a:off x="2245505" y="3700797"/>
            <a:ext cx="7737502" cy="36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内容占位符 123">
            <a:extLst>
              <a:ext uri="{FF2B5EF4-FFF2-40B4-BE49-F238E27FC236}">
                <a16:creationId xmlns:a16="http://schemas.microsoft.com/office/drawing/2014/main" id="{AFA7B71C-080E-4D7E-B323-56839B38C3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33483" y="4203578"/>
            <a:ext cx="2610456" cy="38550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>
            <a:lvl1pPr marL="0" indent="0" algn="ctr">
              <a:buFontTx/>
              <a:buNone/>
              <a:defRPr lang="zh-CN" altLang="en-US" sz="2000" b="0" dirty="0">
                <a:solidFill>
                  <a:schemeClr val="bg1"/>
                </a:solidFill>
              </a:defRPr>
            </a:lvl1pPr>
          </a:lstStyle>
          <a:p>
            <a:pPr marL="0" lvl="0" defTabSz="457200"/>
            <a:r>
              <a:rPr lang="zh-CN" altLang="en-US" dirty="0"/>
              <a:t>请输入内容</a:t>
            </a:r>
          </a:p>
        </p:txBody>
      </p:sp>
      <p:sp>
        <p:nvSpPr>
          <p:cNvPr id="59" name="内容占位符 4">
            <a:extLst>
              <a:ext uri="{FF2B5EF4-FFF2-40B4-BE49-F238E27FC236}">
                <a16:creationId xmlns:a16="http://schemas.microsoft.com/office/drawing/2014/main" id="{E84DA093-FCBD-4B62-9AE6-1087215B6E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61051" y="4203578"/>
            <a:ext cx="2610456" cy="38550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>
            <a:lvl1pPr marL="0" indent="0" algn="ctr">
              <a:buFontTx/>
              <a:buNone/>
              <a:defRPr lang="zh-CN" altLang="en-US" sz="2000" b="0" dirty="0">
                <a:solidFill>
                  <a:schemeClr val="bg1"/>
                </a:solidFill>
              </a:defRPr>
            </a:lvl1pPr>
          </a:lstStyle>
          <a:p>
            <a:pPr marL="0" lvl="0" defTabSz="457200"/>
            <a:r>
              <a:rPr lang="zh-CN" altLang="en-US" dirty="0"/>
              <a:t>请输入内容</a:t>
            </a:r>
          </a:p>
        </p:txBody>
      </p: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E95F7C5A-31C4-4350-B8F9-0E08E067DE55}"/>
              </a:ext>
            </a:extLst>
          </p:cNvPr>
          <p:cNvCxnSpPr>
            <a:cxnSpLocks/>
          </p:cNvCxnSpPr>
          <p:nvPr userDrawn="1"/>
        </p:nvCxnSpPr>
        <p:spPr>
          <a:xfrm>
            <a:off x="6102495" y="4251261"/>
            <a:ext cx="0" cy="29464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BB7826A5-1F04-465F-86E6-65B7B4BD5A9E}"/>
              </a:ext>
            </a:extLst>
          </p:cNvPr>
          <p:cNvGrpSpPr/>
          <p:nvPr userDrawn="1"/>
        </p:nvGrpSpPr>
        <p:grpSpPr>
          <a:xfrm>
            <a:off x="5496925" y="987154"/>
            <a:ext cx="1234662" cy="419641"/>
            <a:chOff x="1398368" y="5051425"/>
            <a:chExt cx="3242941" cy="1102222"/>
          </a:xfrm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0E505774-3A29-43B3-9D78-84F1D42B0E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7">
              <a:extLst>
                <a:ext uri="{FF2B5EF4-FFF2-40B4-BE49-F238E27FC236}">
                  <a16:creationId xmlns:a16="http://schemas.microsoft.com/office/drawing/2014/main" id="{84300F0D-646B-459A-BB9C-E7781896C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F4E8C1C2-0473-4F2F-8663-A114E284C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7" name="组合 66">
              <a:extLst>
                <a:ext uri="{FF2B5EF4-FFF2-40B4-BE49-F238E27FC236}">
                  <a16:creationId xmlns:a16="http://schemas.microsoft.com/office/drawing/2014/main" id="{79CB51FB-F1A4-4B3E-BEFF-FA668675C1A7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55" name="Freeform 6">
                <a:extLst>
                  <a:ext uri="{FF2B5EF4-FFF2-40B4-BE49-F238E27FC236}">
                    <a16:creationId xmlns:a16="http://schemas.microsoft.com/office/drawing/2014/main" id="{D10D48A1-7BF1-48BB-B906-C6CB0C78A2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0">
                <a:extLst>
                  <a:ext uri="{FF2B5EF4-FFF2-40B4-BE49-F238E27FC236}">
                    <a16:creationId xmlns:a16="http://schemas.microsoft.com/office/drawing/2014/main" id="{D4B0E79D-C4D2-40C4-81D7-33BC4B6EF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3">
                <a:extLst>
                  <a:ext uri="{FF2B5EF4-FFF2-40B4-BE49-F238E27FC236}">
                    <a16:creationId xmlns:a16="http://schemas.microsoft.com/office/drawing/2014/main" id="{F7CBC47C-F257-4591-A897-1C6382839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C51C1A44-5D3E-4D7D-87CD-FAC075E82A73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50" name="Freeform 9">
                <a:extLst>
                  <a:ext uri="{FF2B5EF4-FFF2-40B4-BE49-F238E27FC236}">
                    <a16:creationId xmlns:a16="http://schemas.microsoft.com/office/drawing/2014/main" id="{BC7C0AB0-45CD-4D0E-A156-4C83F31B3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1">
                <a:extLst>
                  <a:ext uri="{FF2B5EF4-FFF2-40B4-BE49-F238E27FC236}">
                    <a16:creationId xmlns:a16="http://schemas.microsoft.com/office/drawing/2014/main" id="{8425003B-C727-4461-82A7-B9CCEA57D5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2">
                <a:extLst>
                  <a:ext uri="{FF2B5EF4-FFF2-40B4-BE49-F238E27FC236}">
                    <a16:creationId xmlns:a16="http://schemas.microsoft.com/office/drawing/2014/main" id="{8DFA3228-EF8E-412C-A0B5-C1E1D4557F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4">
                <a:extLst>
                  <a:ext uri="{FF2B5EF4-FFF2-40B4-BE49-F238E27FC236}">
                    <a16:creationId xmlns:a16="http://schemas.microsoft.com/office/drawing/2014/main" id="{AC1D3494-B45D-488F-ADD1-F747A2DD33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5">
                <a:extLst>
                  <a:ext uri="{FF2B5EF4-FFF2-40B4-BE49-F238E27FC236}">
                    <a16:creationId xmlns:a16="http://schemas.microsoft.com/office/drawing/2014/main" id="{981AD11F-A3F7-463B-99AE-CD885CC7EE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88F0C69E-104C-4F7B-B920-E4E9685A80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C96CA24E-024F-4E15-B655-347F5ABB09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Oval 18">
              <a:extLst>
                <a:ext uri="{FF2B5EF4-FFF2-40B4-BE49-F238E27FC236}">
                  <a16:creationId xmlns:a16="http://schemas.microsoft.com/office/drawing/2014/main" id="{DBAF1A14-6E3F-487F-A039-80429E167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9">
              <a:extLst>
                <a:ext uri="{FF2B5EF4-FFF2-40B4-BE49-F238E27FC236}">
                  <a16:creationId xmlns:a16="http://schemas.microsoft.com/office/drawing/2014/main" id="{CD78983A-AD43-44D2-AEC3-C58BF422D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0">
              <a:extLst>
                <a:ext uri="{FF2B5EF4-FFF2-40B4-BE49-F238E27FC236}">
                  <a16:creationId xmlns:a16="http://schemas.microsoft.com/office/drawing/2014/main" id="{0064583A-BE0F-46D2-B03B-59DA30AC8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21">
              <a:extLst>
                <a:ext uri="{FF2B5EF4-FFF2-40B4-BE49-F238E27FC236}">
                  <a16:creationId xmlns:a16="http://schemas.microsoft.com/office/drawing/2014/main" id="{2D08B2D8-F5B3-4F31-8096-CA623AD59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2">
              <a:extLst>
                <a:ext uri="{FF2B5EF4-FFF2-40B4-BE49-F238E27FC236}">
                  <a16:creationId xmlns:a16="http://schemas.microsoft.com/office/drawing/2014/main" id="{65941729-1F42-4A4B-9FC0-488C27FC11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3">
              <a:extLst>
                <a:ext uri="{FF2B5EF4-FFF2-40B4-BE49-F238E27FC236}">
                  <a16:creationId xmlns:a16="http://schemas.microsoft.com/office/drawing/2014/main" id="{63584EC2-9CFD-4B41-AFF7-278C47ABB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4">
              <a:extLst>
                <a:ext uri="{FF2B5EF4-FFF2-40B4-BE49-F238E27FC236}">
                  <a16:creationId xmlns:a16="http://schemas.microsoft.com/office/drawing/2014/main" id="{CA538B83-AF4A-4635-9844-5F3195DD7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5">
              <a:extLst>
                <a:ext uri="{FF2B5EF4-FFF2-40B4-BE49-F238E27FC236}">
                  <a16:creationId xmlns:a16="http://schemas.microsoft.com/office/drawing/2014/main" id="{816D55DB-8F96-424D-B853-B41AB7596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6">
              <a:extLst>
                <a:ext uri="{FF2B5EF4-FFF2-40B4-BE49-F238E27FC236}">
                  <a16:creationId xmlns:a16="http://schemas.microsoft.com/office/drawing/2014/main" id="{8B2219C5-03F2-463D-8661-98CD1F4DE0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7">
              <a:extLst>
                <a:ext uri="{FF2B5EF4-FFF2-40B4-BE49-F238E27FC236}">
                  <a16:creationId xmlns:a16="http://schemas.microsoft.com/office/drawing/2014/main" id="{8B55A78E-77D8-487A-AFFC-9898AF219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8">
              <a:extLst>
                <a:ext uri="{FF2B5EF4-FFF2-40B4-BE49-F238E27FC236}">
                  <a16:creationId xmlns:a16="http://schemas.microsoft.com/office/drawing/2014/main" id="{EAB412BD-4594-4B7E-A1E5-F15042D1EC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AAF9D15F-914F-4CC9-9231-C15D34EA0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01772648-10D2-4B13-BFA0-0D16E53CA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C839B3DA-F8D8-4B6D-B3DA-2EFD410E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9AB92F28-512F-4337-9375-B09E9B729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3">
              <a:extLst>
                <a:ext uri="{FF2B5EF4-FFF2-40B4-BE49-F238E27FC236}">
                  <a16:creationId xmlns:a16="http://schemas.microsoft.com/office/drawing/2014/main" id="{968C5AA0-DC37-444D-BF4B-27BE044A5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4">
              <a:extLst>
                <a:ext uri="{FF2B5EF4-FFF2-40B4-BE49-F238E27FC236}">
                  <a16:creationId xmlns:a16="http://schemas.microsoft.com/office/drawing/2014/main" id="{439F3F6A-01DB-44F5-9F00-B8A46DE2D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5">
              <a:extLst>
                <a:ext uri="{FF2B5EF4-FFF2-40B4-BE49-F238E27FC236}">
                  <a16:creationId xmlns:a16="http://schemas.microsoft.com/office/drawing/2014/main" id="{CCD78A76-46CB-48E0-AD14-BAFB2D240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6">
              <a:extLst>
                <a:ext uri="{FF2B5EF4-FFF2-40B4-BE49-F238E27FC236}">
                  <a16:creationId xmlns:a16="http://schemas.microsoft.com/office/drawing/2014/main" id="{BBC1AD2D-C6E5-4F20-9EBD-72A979E04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7">
              <a:extLst>
                <a:ext uri="{FF2B5EF4-FFF2-40B4-BE49-F238E27FC236}">
                  <a16:creationId xmlns:a16="http://schemas.microsoft.com/office/drawing/2014/main" id="{71105A94-05A8-4CCF-9FD9-29073311F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8">
              <a:extLst>
                <a:ext uri="{FF2B5EF4-FFF2-40B4-BE49-F238E27FC236}">
                  <a16:creationId xmlns:a16="http://schemas.microsoft.com/office/drawing/2014/main" id="{762EE8BF-AF1E-4B57-9F71-9263BC144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9">
              <a:extLst>
                <a:ext uri="{FF2B5EF4-FFF2-40B4-BE49-F238E27FC236}">
                  <a16:creationId xmlns:a16="http://schemas.microsoft.com/office/drawing/2014/main" id="{EFEEFA98-5C1E-401E-AAEA-C322131F0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40">
              <a:extLst>
                <a:ext uri="{FF2B5EF4-FFF2-40B4-BE49-F238E27FC236}">
                  <a16:creationId xmlns:a16="http://schemas.microsoft.com/office/drawing/2014/main" id="{B16E5B9E-ABD4-4C55-A0F3-DCEBCC714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41">
              <a:extLst>
                <a:ext uri="{FF2B5EF4-FFF2-40B4-BE49-F238E27FC236}">
                  <a16:creationId xmlns:a16="http://schemas.microsoft.com/office/drawing/2014/main" id="{FA28A733-1D01-4059-B38E-50BCE4915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42">
              <a:extLst>
                <a:ext uri="{FF2B5EF4-FFF2-40B4-BE49-F238E27FC236}">
                  <a16:creationId xmlns:a16="http://schemas.microsoft.com/office/drawing/2014/main" id="{E7933BCF-E4A4-4F66-A63D-5F5E2EC71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43">
              <a:extLst>
                <a:ext uri="{FF2B5EF4-FFF2-40B4-BE49-F238E27FC236}">
                  <a16:creationId xmlns:a16="http://schemas.microsoft.com/office/drawing/2014/main" id="{36A8C0D3-319A-4023-82CE-1BAE9BA14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44">
              <a:extLst>
                <a:ext uri="{FF2B5EF4-FFF2-40B4-BE49-F238E27FC236}">
                  <a16:creationId xmlns:a16="http://schemas.microsoft.com/office/drawing/2014/main" id="{66230FAF-1FA2-44B1-B04E-02507733A1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45">
              <a:extLst>
                <a:ext uri="{FF2B5EF4-FFF2-40B4-BE49-F238E27FC236}">
                  <a16:creationId xmlns:a16="http://schemas.microsoft.com/office/drawing/2014/main" id="{739CA21E-B15A-4CF3-BF53-94514EAE2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46">
              <a:extLst>
                <a:ext uri="{FF2B5EF4-FFF2-40B4-BE49-F238E27FC236}">
                  <a16:creationId xmlns:a16="http://schemas.microsoft.com/office/drawing/2014/main" id="{B8A2F35D-E968-4310-AF42-513E205BE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47">
              <a:extLst>
                <a:ext uri="{FF2B5EF4-FFF2-40B4-BE49-F238E27FC236}">
                  <a16:creationId xmlns:a16="http://schemas.microsoft.com/office/drawing/2014/main" id="{DBB0D6B1-EC62-405C-A493-D5FB012CC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48">
              <a:extLst>
                <a:ext uri="{FF2B5EF4-FFF2-40B4-BE49-F238E27FC236}">
                  <a16:creationId xmlns:a16="http://schemas.microsoft.com/office/drawing/2014/main" id="{C28CF92D-6811-477D-85D0-042B03D0B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49">
              <a:extLst>
                <a:ext uri="{FF2B5EF4-FFF2-40B4-BE49-F238E27FC236}">
                  <a16:creationId xmlns:a16="http://schemas.microsoft.com/office/drawing/2014/main" id="{4A5CF6EA-5DAA-4DC9-A61D-52FD314F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2" name="文本占位符 5">
            <a:extLst>
              <a:ext uri="{FF2B5EF4-FFF2-40B4-BE49-F238E27FC236}">
                <a16:creationId xmlns:a16="http://schemas.microsoft.com/office/drawing/2014/main" id="{8D1C9C48-A725-47A5-9F37-3BEFA22A49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45505" y="3166032"/>
            <a:ext cx="7737502" cy="400110"/>
          </a:xfrm>
        </p:spPr>
        <p:txBody>
          <a:bodyPr lIns="0" tIns="0" rIns="0" bIns="0" anchor="ctr"/>
          <a:lstStyle>
            <a:lvl1pPr algn="ctr">
              <a:defRPr sz="1800" b="0" spc="3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3153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图片 67">
            <a:extLst>
              <a:ext uri="{FF2B5EF4-FFF2-40B4-BE49-F238E27FC236}">
                <a16:creationId xmlns:a16="http://schemas.microsoft.com/office/drawing/2014/main" id="{1BC1CF4F-833E-4B05-A58D-AF7221147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34588"/>
            <a:ext cx="12192000" cy="3188826"/>
          </a:xfrm>
          <a:prstGeom prst="rect">
            <a:avLst/>
          </a:prstGeom>
          <a:effectLst/>
        </p:spPr>
      </p:pic>
      <p:sp>
        <p:nvSpPr>
          <p:cNvPr id="59" name="矩形 58">
            <a:extLst>
              <a:ext uri="{FF2B5EF4-FFF2-40B4-BE49-F238E27FC236}">
                <a16:creationId xmlns:a16="http://schemas.microsoft.com/office/drawing/2014/main" id="{40A2F554-02D6-4D27-B33D-6141B6DD9108}"/>
              </a:ext>
            </a:extLst>
          </p:cNvPr>
          <p:cNvSpPr/>
          <p:nvPr userDrawn="1"/>
        </p:nvSpPr>
        <p:spPr>
          <a:xfrm flipV="1">
            <a:off x="1080304" y="1546859"/>
            <a:ext cx="10031392" cy="3764281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直角三角形 165">
            <a:extLst>
              <a:ext uri="{FF2B5EF4-FFF2-40B4-BE49-F238E27FC236}">
                <a16:creationId xmlns:a16="http://schemas.microsoft.com/office/drawing/2014/main" id="{7A017D0F-0402-414D-837A-C2D5DE436C4C}"/>
              </a:ext>
            </a:extLst>
          </p:cNvPr>
          <p:cNvSpPr/>
          <p:nvPr userDrawn="1"/>
        </p:nvSpPr>
        <p:spPr>
          <a:xfrm>
            <a:off x="11111696" y="1546859"/>
            <a:ext cx="300942" cy="293516"/>
          </a:xfrm>
          <a:prstGeom prst="rt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直角三角形 166">
            <a:extLst>
              <a:ext uri="{FF2B5EF4-FFF2-40B4-BE49-F238E27FC236}">
                <a16:creationId xmlns:a16="http://schemas.microsoft.com/office/drawing/2014/main" id="{59895E64-9D52-4F49-8AB0-435FC0ECCB8E}"/>
              </a:ext>
            </a:extLst>
          </p:cNvPr>
          <p:cNvSpPr/>
          <p:nvPr userDrawn="1"/>
        </p:nvSpPr>
        <p:spPr>
          <a:xfrm flipH="1">
            <a:off x="779362" y="1546859"/>
            <a:ext cx="300942" cy="293516"/>
          </a:xfrm>
          <a:prstGeom prst="rt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8E1F1153-B136-4EF3-9D84-581C39BCDC52}"/>
              </a:ext>
            </a:extLst>
          </p:cNvPr>
          <p:cNvSpPr/>
          <p:nvPr userDrawn="1"/>
        </p:nvSpPr>
        <p:spPr>
          <a:xfrm>
            <a:off x="0" y="6721789"/>
            <a:ext cx="12192000" cy="13621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文本框 168">
            <a:extLst>
              <a:ext uri="{FF2B5EF4-FFF2-40B4-BE49-F238E27FC236}">
                <a16:creationId xmlns:a16="http://schemas.microsoft.com/office/drawing/2014/main" id="{CC4C3D6F-9E6A-45F4-A0D1-51EDE033BAD8}"/>
              </a:ext>
            </a:extLst>
          </p:cNvPr>
          <p:cNvSpPr txBox="1"/>
          <p:nvPr userDrawn="1"/>
        </p:nvSpPr>
        <p:spPr>
          <a:xfrm>
            <a:off x="2383177" y="5808390"/>
            <a:ext cx="742564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dist"/>
            <a:r>
              <a:rPr lang="zh-CN" altLang="en-US" sz="2400" b="1" dirty="0">
                <a:solidFill>
                  <a:schemeClr val="bg1">
                    <a:lumMod val="75000"/>
                  </a:schemeClr>
                </a:solidFill>
              </a:rPr>
              <a:t>思源 责任 青春 奉献</a:t>
            </a:r>
            <a:endParaRPr lang="en-US" sz="2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65" name="组合 64">
            <a:extLst>
              <a:ext uri="{FF2B5EF4-FFF2-40B4-BE49-F238E27FC236}">
                <a16:creationId xmlns:a16="http://schemas.microsoft.com/office/drawing/2014/main" id="{7E56CB0D-239C-4355-B03D-46B19CA1401E}"/>
              </a:ext>
            </a:extLst>
          </p:cNvPr>
          <p:cNvGrpSpPr/>
          <p:nvPr userDrawn="1"/>
        </p:nvGrpSpPr>
        <p:grpSpPr>
          <a:xfrm>
            <a:off x="5478669" y="446123"/>
            <a:ext cx="1234662" cy="419641"/>
            <a:chOff x="1398368" y="5051425"/>
            <a:chExt cx="3242941" cy="1102222"/>
          </a:xfrm>
        </p:grpSpPr>
        <p:sp>
          <p:nvSpPr>
            <p:cNvPr id="66" name="Freeform 5">
              <a:extLst>
                <a:ext uri="{FF2B5EF4-FFF2-40B4-BE49-F238E27FC236}">
                  <a16:creationId xmlns:a16="http://schemas.microsoft.com/office/drawing/2014/main" id="{1325C9FA-78B0-4F46-BB49-9EECDF15EE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B9EA52A8-C478-46DB-9641-0A7367154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36BE9EAD-1E02-4422-82E2-6287C688A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1" name="组合 70">
              <a:extLst>
                <a:ext uri="{FF2B5EF4-FFF2-40B4-BE49-F238E27FC236}">
                  <a16:creationId xmlns:a16="http://schemas.microsoft.com/office/drawing/2014/main" id="{051FFAEA-B456-4A85-B6CB-38B873365E9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14" name="Freeform 6">
                <a:extLst>
                  <a:ext uri="{FF2B5EF4-FFF2-40B4-BE49-F238E27FC236}">
                    <a16:creationId xmlns:a16="http://schemas.microsoft.com/office/drawing/2014/main" id="{817791E3-B6F8-46AA-80C0-18FAFDB2BE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0">
                <a:extLst>
                  <a:ext uri="{FF2B5EF4-FFF2-40B4-BE49-F238E27FC236}">
                    <a16:creationId xmlns:a16="http://schemas.microsoft.com/office/drawing/2014/main" id="{8796D043-3EA4-4F89-970C-EDA64EBF22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3">
                <a:extLst>
                  <a:ext uri="{FF2B5EF4-FFF2-40B4-BE49-F238E27FC236}">
                    <a16:creationId xmlns:a16="http://schemas.microsoft.com/office/drawing/2014/main" id="{BB889A94-31CF-4EE4-B3C5-04C343B21F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2" name="组合 71">
              <a:extLst>
                <a:ext uri="{FF2B5EF4-FFF2-40B4-BE49-F238E27FC236}">
                  <a16:creationId xmlns:a16="http://schemas.microsoft.com/office/drawing/2014/main" id="{825106D8-A94F-4B66-992B-E5E527E36F89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7" name="Freeform 9">
                <a:extLst>
                  <a:ext uri="{FF2B5EF4-FFF2-40B4-BE49-F238E27FC236}">
                    <a16:creationId xmlns:a16="http://schemas.microsoft.com/office/drawing/2014/main" id="{DAB499B1-2D47-493C-A16E-60CB8166D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1">
                <a:extLst>
                  <a:ext uri="{FF2B5EF4-FFF2-40B4-BE49-F238E27FC236}">
                    <a16:creationId xmlns:a16="http://schemas.microsoft.com/office/drawing/2014/main" id="{C2E35C7A-6250-4F1B-89FD-FCBDCA4A3C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2">
                <a:extLst>
                  <a:ext uri="{FF2B5EF4-FFF2-40B4-BE49-F238E27FC236}">
                    <a16:creationId xmlns:a16="http://schemas.microsoft.com/office/drawing/2014/main" id="{81DA77F1-8F9B-4E6D-9F70-C1DD2BA33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4">
                <a:extLst>
                  <a:ext uri="{FF2B5EF4-FFF2-40B4-BE49-F238E27FC236}">
                    <a16:creationId xmlns:a16="http://schemas.microsoft.com/office/drawing/2014/main" id="{CD304D36-8749-4D5A-8AB9-2C1BA5C51D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5">
                <a:extLst>
                  <a:ext uri="{FF2B5EF4-FFF2-40B4-BE49-F238E27FC236}">
                    <a16:creationId xmlns:a16="http://schemas.microsoft.com/office/drawing/2014/main" id="{8A5483D9-0AA3-4B57-A12D-36DF97D1C6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3" name="Freeform 16">
              <a:extLst>
                <a:ext uri="{FF2B5EF4-FFF2-40B4-BE49-F238E27FC236}">
                  <a16:creationId xmlns:a16="http://schemas.microsoft.com/office/drawing/2014/main" id="{B9201CA1-4468-417E-92CA-2FAD9210C1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7">
              <a:extLst>
                <a:ext uri="{FF2B5EF4-FFF2-40B4-BE49-F238E27FC236}">
                  <a16:creationId xmlns:a16="http://schemas.microsoft.com/office/drawing/2014/main" id="{720FA8DC-CC12-416C-8D73-31DE87157C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18">
              <a:extLst>
                <a:ext uri="{FF2B5EF4-FFF2-40B4-BE49-F238E27FC236}">
                  <a16:creationId xmlns:a16="http://schemas.microsoft.com/office/drawing/2014/main" id="{3F38BB57-65F6-4923-8E34-0CB8F10941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0468875A-4346-438B-A0E4-D5C9D75AC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0">
              <a:extLst>
                <a:ext uri="{FF2B5EF4-FFF2-40B4-BE49-F238E27FC236}">
                  <a16:creationId xmlns:a16="http://schemas.microsoft.com/office/drawing/2014/main" id="{4DAEA2C8-E7E2-4AB6-B783-A6F54C808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1">
              <a:extLst>
                <a:ext uri="{FF2B5EF4-FFF2-40B4-BE49-F238E27FC236}">
                  <a16:creationId xmlns:a16="http://schemas.microsoft.com/office/drawing/2014/main" id="{CC951107-EFAC-46E2-9E9A-85116DE12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2">
              <a:extLst>
                <a:ext uri="{FF2B5EF4-FFF2-40B4-BE49-F238E27FC236}">
                  <a16:creationId xmlns:a16="http://schemas.microsoft.com/office/drawing/2014/main" id="{C0EF87BB-599F-41DD-AED3-305D49EEEA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60C6D869-42A0-4A5E-9936-3CC29004F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4">
              <a:extLst>
                <a:ext uri="{FF2B5EF4-FFF2-40B4-BE49-F238E27FC236}">
                  <a16:creationId xmlns:a16="http://schemas.microsoft.com/office/drawing/2014/main" id="{F7DA41FB-8A21-4597-9466-E614F1B06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>
              <a:extLst>
                <a:ext uri="{FF2B5EF4-FFF2-40B4-BE49-F238E27FC236}">
                  <a16:creationId xmlns:a16="http://schemas.microsoft.com/office/drawing/2014/main" id="{2C91DC2E-43AB-474C-8710-2005B2862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6">
              <a:extLst>
                <a:ext uri="{FF2B5EF4-FFF2-40B4-BE49-F238E27FC236}">
                  <a16:creationId xmlns:a16="http://schemas.microsoft.com/office/drawing/2014/main" id="{C8D9A61A-36DF-4799-B3DC-3C076DB99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">
              <a:extLst>
                <a:ext uri="{FF2B5EF4-FFF2-40B4-BE49-F238E27FC236}">
                  <a16:creationId xmlns:a16="http://schemas.microsoft.com/office/drawing/2014/main" id="{EF8029C4-87A6-4CB5-B74E-05A6D6940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">
              <a:extLst>
                <a:ext uri="{FF2B5EF4-FFF2-40B4-BE49-F238E27FC236}">
                  <a16:creationId xmlns:a16="http://schemas.microsoft.com/office/drawing/2014/main" id="{A97BD32D-4BC5-417E-90A7-A2A7B93F59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9">
              <a:extLst>
                <a:ext uri="{FF2B5EF4-FFF2-40B4-BE49-F238E27FC236}">
                  <a16:creationId xmlns:a16="http://schemas.microsoft.com/office/drawing/2014/main" id="{98641CDA-ED60-4378-8BA8-4E3B7886F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0">
              <a:extLst>
                <a:ext uri="{FF2B5EF4-FFF2-40B4-BE49-F238E27FC236}">
                  <a16:creationId xmlns:a16="http://schemas.microsoft.com/office/drawing/2014/main" id="{EFFC16CA-0F54-433F-B1E1-2136A5804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1">
              <a:extLst>
                <a:ext uri="{FF2B5EF4-FFF2-40B4-BE49-F238E27FC236}">
                  <a16:creationId xmlns:a16="http://schemas.microsoft.com/office/drawing/2014/main" id="{45EC17A4-2993-473B-B984-A69724BC4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2">
              <a:extLst>
                <a:ext uri="{FF2B5EF4-FFF2-40B4-BE49-F238E27FC236}">
                  <a16:creationId xmlns:a16="http://schemas.microsoft.com/office/drawing/2014/main" id="{2E4AA870-403D-4F33-B92B-4FA4FE2AA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3">
              <a:extLst>
                <a:ext uri="{FF2B5EF4-FFF2-40B4-BE49-F238E27FC236}">
                  <a16:creationId xmlns:a16="http://schemas.microsoft.com/office/drawing/2014/main" id="{A465BB46-AF26-4133-9DE6-E64A5621B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4">
              <a:extLst>
                <a:ext uri="{FF2B5EF4-FFF2-40B4-BE49-F238E27FC236}">
                  <a16:creationId xmlns:a16="http://schemas.microsoft.com/office/drawing/2014/main" id="{356F675D-64CA-4764-9C51-E9A443228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5">
              <a:extLst>
                <a:ext uri="{FF2B5EF4-FFF2-40B4-BE49-F238E27FC236}">
                  <a16:creationId xmlns:a16="http://schemas.microsoft.com/office/drawing/2014/main" id="{F8F81933-A508-420E-9658-A56863BF20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6">
              <a:extLst>
                <a:ext uri="{FF2B5EF4-FFF2-40B4-BE49-F238E27FC236}">
                  <a16:creationId xmlns:a16="http://schemas.microsoft.com/office/drawing/2014/main" id="{D962BFA0-520B-4422-8F3B-3E21D3513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37">
              <a:extLst>
                <a:ext uri="{FF2B5EF4-FFF2-40B4-BE49-F238E27FC236}">
                  <a16:creationId xmlns:a16="http://schemas.microsoft.com/office/drawing/2014/main" id="{4E5E632C-98EA-4DC8-A784-6FD63B1E8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38">
              <a:extLst>
                <a:ext uri="{FF2B5EF4-FFF2-40B4-BE49-F238E27FC236}">
                  <a16:creationId xmlns:a16="http://schemas.microsoft.com/office/drawing/2014/main" id="{F079A5DE-0088-42AA-B30A-E90D8E7A3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9">
              <a:extLst>
                <a:ext uri="{FF2B5EF4-FFF2-40B4-BE49-F238E27FC236}">
                  <a16:creationId xmlns:a16="http://schemas.microsoft.com/office/drawing/2014/main" id="{2B44DE5E-3861-4FD0-9904-18700CE2B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0">
              <a:extLst>
                <a:ext uri="{FF2B5EF4-FFF2-40B4-BE49-F238E27FC236}">
                  <a16:creationId xmlns:a16="http://schemas.microsoft.com/office/drawing/2014/main" id="{1EBF1A8F-B700-4D27-9746-7FA80AE7C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1">
              <a:extLst>
                <a:ext uri="{FF2B5EF4-FFF2-40B4-BE49-F238E27FC236}">
                  <a16:creationId xmlns:a16="http://schemas.microsoft.com/office/drawing/2014/main" id="{7908FC75-8432-4DCF-996B-82935F5A6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2">
              <a:extLst>
                <a:ext uri="{FF2B5EF4-FFF2-40B4-BE49-F238E27FC236}">
                  <a16:creationId xmlns:a16="http://schemas.microsoft.com/office/drawing/2014/main" id="{629927F4-6D0A-4C59-B657-47922FB2C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3">
              <a:extLst>
                <a:ext uri="{FF2B5EF4-FFF2-40B4-BE49-F238E27FC236}">
                  <a16:creationId xmlns:a16="http://schemas.microsoft.com/office/drawing/2014/main" id="{C104AE9A-4EDA-4799-99C0-BBA4462B8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4">
              <a:extLst>
                <a:ext uri="{FF2B5EF4-FFF2-40B4-BE49-F238E27FC236}">
                  <a16:creationId xmlns:a16="http://schemas.microsoft.com/office/drawing/2014/main" id="{F6E722AE-B04E-4100-AE87-3D29ADC255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5">
              <a:extLst>
                <a:ext uri="{FF2B5EF4-FFF2-40B4-BE49-F238E27FC236}">
                  <a16:creationId xmlns:a16="http://schemas.microsoft.com/office/drawing/2014/main" id="{7017139B-910B-480E-A427-6D0947947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6">
              <a:extLst>
                <a:ext uri="{FF2B5EF4-FFF2-40B4-BE49-F238E27FC236}">
                  <a16:creationId xmlns:a16="http://schemas.microsoft.com/office/drawing/2014/main" id="{47BEB17B-DD9C-4B76-9DCB-61E095EB2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47">
              <a:extLst>
                <a:ext uri="{FF2B5EF4-FFF2-40B4-BE49-F238E27FC236}">
                  <a16:creationId xmlns:a16="http://schemas.microsoft.com/office/drawing/2014/main" id="{CA7BF23C-3CFB-4899-908E-B88D5C4EC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48">
              <a:extLst>
                <a:ext uri="{FF2B5EF4-FFF2-40B4-BE49-F238E27FC236}">
                  <a16:creationId xmlns:a16="http://schemas.microsoft.com/office/drawing/2014/main" id="{A91A7AE0-3544-4423-AF46-D0C738F40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49">
              <a:extLst>
                <a:ext uri="{FF2B5EF4-FFF2-40B4-BE49-F238E27FC236}">
                  <a16:creationId xmlns:a16="http://schemas.microsoft.com/office/drawing/2014/main" id="{756FB9D3-CD9F-42CA-B664-65CDCB95C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0" name="标题 1">
            <a:extLst>
              <a:ext uri="{FF2B5EF4-FFF2-40B4-BE49-F238E27FC236}">
                <a16:creationId xmlns:a16="http://schemas.microsoft.com/office/drawing/2014/main" id="{7AFE43DC-5052-4367-AF58-B10BE07EC1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5505" y="2268921"/>
            <a:ext cx="7737502" cy="923330"/>
          </a:xfrm>
          <a:noFill/>
        </p:spPr>
        <p:txBody>
          <a:bodyPr wrap="square" lIns="0" rIns="0" rtlCol="0" anchor="ctr">
            <a:noAutofit/>
          </a:bodyPr>
          <a:lstStyle>
            <a:lvl1pPr algn="ctr">
              <a:defRPr lang="en-US" sz="5400" b="1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marL="0" lvl="0" algn="dist" defTabSz="457200"/>
            <a:endParaRPr lang="en-US" dirty="0"/>
          </a:p>
        </p:txBody>
      </p:sp>
      <p:sp>
        <p:nvSpPr>
          <p:cNvPr id="62" name="文本占位符 5">
            <a:extLst>
              <a:ext uri="{FF2B5EF4-FFF2-40B4-BE49-F238E27FC236}">
                <a16:creationId xmlns:a16="http://schemas.microsoft.com/office/drawing/2014/main" id="{5ABE4E69-BFAE-4067-BBBA-F38EE2B075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45505" y="3166032"/>
            <a:ext cx="7737502" cy="400110"/>
          </a:xfrm>
        </p:spPr>
        <p:txBody>
          <a:bodyPr lIns="0" tIns="0" rIns="0" bIns="0" anchor="ctr"/>
          <a:lstStyle>
            <a:lvl1pPr algn="ctr">
              <a:defRPr sz="1800" b="0" spc="3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52A36678-857E-4384-B5F7-666341F656B6}"/>
              </a:ext>
            </a:extLst>
          </p:cNvPr>
          <p:cNvSpPr/>
          <p:nvPr userDrawn="1"/>
        </p:nvSpPr>
        <p:spPr>
          <a:xfrm>
            <a:off x="2245505" y="3700797"/>
            <a:ext cx="7737502" cy="36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内容占位符 4">
            <a:extLst>
              <a:ext uri="{FF2B5EF4-FFF2-40B4-BE49-F238E27FC236}">
                <a16:creationId xmlns:a16="http://schemas.microsoft.com/office/drawing/2014/main" id="{6359227C-C717-4D01-8717-3B01A013636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333483" y="4203578"/>
            <a:ext cx="2610456" cy="38550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>
            <a:lvl1pPr marL="0" indent="0" algn="ctr">
              <a:buFontTx/>
              <a:buNone/>
              <a:defRPr lang="zh-CN" altLang="en-US" sz="2000" b="0" dirty="0">
                <a:solidFill>
                  <a:schemeClr val="bg1"/>
                </a:solidFill>
              </a:defRPr>
            </a:lvl1pPr>
          </a:lstStyle>
          <a:p>
            <a:pPr marL="0" lvl="0" defTabSz="457200"/>
            <a:r>
              <a:rPr lang="zh-CN" altLang="en-US" dirty="0"/>
              <a:t>请输入内容</a:t>
            </a:r>
          </a:p>
        </p:txBody>
      </p:sp>
      <p:sp>
        <p:nvSpPr>
          <p:cNvPr id="117" name="内容占位符 123">
            <a:extLst>
              <a:ext uri="{FF2B5EF4-FFF2-40B4-BE49-F238E27FC236}">
                <a16:creationId xmlns:a16="http://schemas.microsoft.com/office/drawing/2014/main" id="{0E801227-F633-4F2E-AF4F-336E59AC40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61051" y="4203578"/>
            <a:ext cx="2610456" cy="38550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>
            <a:lvl1pPr marL="0" indent="0" algn="ctr">
              <a:buFontTx/>
              <a:buNone/>
              <a:defRPr lang="zh-CN" altLang="en-US" sz="2000" b="0" dirty="0">
                <a:solidFill>
                  <a:schemeClr val="bg1"/>
                </a:solidFill>
              </a:defRPr>
            </a:lvl1pPr>
          </a:lstStyle>
          <a:p>
            <a:pPr marL="0" lvl="0" defTabSz="457200"/>
            <a:r>
              <a:rPr lang="zh-CN" altLang="en-US" dirty="0"/>
              <a:t>请输入内容</a:t>
            </a:r>
          </a:p>
        </p:txBody>
      </p:sp>
      <p:cxnSp>
        <p:nvCxnSpPr>
          <p:cNvPr id="119" name="直接连接符 118">
            <a:extLst>
              <a:ext uri="{FF2B5EF4-FFF2-40B4-BE49-F238E27FC236}">
                <a16:creationId xmlns:a16="http://schemas.microsoft.com/office/drawing/2014/main" id="{62C7D5E2-E37C-467E-A997-288D0A88AA13}"/>
              </a:ext>
            </a:extLst>
          </p:cNvPr>
          <p:cNvCxnSpPr>
            <a:cxnSpLocks/>
          </p:cNvCxnSpPr>
          <p:nvPr userDrawn="1"/>
        </p:nvCxnSpPr>
        <p:spPr>
          <a:xfrm>
            <a:off x="6102495" y="4251261"/>
            <a:ext cx="0" cy="29464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37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1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矩形 117">
            <a:extLst>
              <a:ext uri="{FF2B5EF4-FFF2-40B4-BE49-F238E27FC236}">
                <a16:creationId xmlns:a16="http://schemas.microsoft.com/office/drawing/2014/main" id="{83460631-7A3E-489F-AFF1-C919933C0BDD}"/>
              </a:ext>
            </a:extLst>
          </p:cNvPr>
          <p:cNvSpPr/>
          <p:nvPr userDrawn="1"/>
        </p:nvSpPr>
        <p:spPr>
          <a:xfrm>
            <a:off x="0" y="0"/>
            <a:ext cx="12192000" cy="419003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6000">
                <a:schemeClr val="bg1"/>
              </a:gs>
              <a:gs pos="100000">
                <a:schemeClr val="bg1"/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0" name="图片 59">
            <a:extLst>
              <a:ext uri="{FF2B5EF4-FFF2-40B4-BE49-F238E27FC236}">
                <a16:creationId xmlns:a16="http://schemas.microsoft.com/office/drawing/2014/main" id="{1DAD8CAD-0738-45DC-B40B-E796764C1C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16893"/>
            <a:ext cx="12192000" cy="5341108"/>
          </a:xfrm>
          <a:prstGeom prst="rect">
            <a:avLst/>
          </a:prstGeom>
        </p:spPr>
      </p:pic>
      <p:sp>
        <p:nvSpPr>
          <p:cNvPr id="61" name="矩形 60">
            <a:extLst>
              <a:ext uri="{FF2B5EF4-FFF2-40B4-BE49-F238E27FC236}">
                <a16:creationId xmlns:a16="http://schemas.microsoft.com/office/drawing/2014/main" id="{4D9EEB81-12E8-42B7-9D41-46B13326DDAA}"/>
              </a:ext>
            </a:extLst>
          </p:cNvPr>
          <p:cNvSpPr/>
          <p:nvPr userDrawn="1"/>
        </p:nvSpPr>
        <p:spPr>
          <a:xfrm>
            <a:off x="0" y="0"/>
            <a:ext cx="12192000" cy="419003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6000">
                <a:schemeClr val="bg1"/>
              </a:gs>
              <a:gs pos="100000">
                <a:schemeClr val="bg1"/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图片 61">
            <a:extLst>
              <a:ext uri="{FF2B5EF4-FFF2-40B4-BE49-F238E27FC236}">
                <a16:creationId xmlns:a16="http://schemas.microsoft.com/office/drawing/2014/main" id="{409DE6A2-9C67-4290-BC0A-A67C98E95D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13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017520"/>
          </a:xfrm>
          <a:prstGeom prst="rect">
            <a:avLst/>
          </a:prstGeom>
        </p:spPr>
      </p:pic>
      <p:grpSp>
        <p:nvGrpSpPr>
          <p:cNvPr id="121" name="组合 120">
            <a:extLst>
              <a:ext uri="{FF2B5EF4-FFF2-40B4-BE49-F238E27FC236}">
                <a16:creationId xmlns:a16="http://schemas.microsoft.com/office/drawing/2014/main" id="{855908AF-97B9-4729-8037-3BA861606F0D}"/>
              </a:ext>
            </a:extLst>
          </p:cNvPr>
          <p:cNvGrpSpPr/>
          <p:nvPr userDrawn="1"/>
        </p:nvGrpSpPr>
        <p:grpSpPr>
          <a:xfrm>
            <a:off x="5271655" y="1112449"/>
            <a:ext cx="1648690" cy="560362"/>
            <a:chOff x="1398368" y="5051425"/>
            <a:chExt cx="3242941" cy="1102222"/>
          </a:xfrm>
        </p:grpSpPr>
        <p:sp>
          <p:nvSpPr>
            <p:cNvPr id="122" name="Freeform 5">
              <a:extLst>
                <a:ext uri="{FF2B5EF4-FFF2-40B4-BE49-F238E27FC236}">
                  <a16:creationId xmlns:a16="http://schemas.microsoft.com/office/drawing/2014/main" id="{CC73142E-2601-4692-A4EB-ACF356FF3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7">
              <a:extLst>
                <a:ext uri="{FF2B5EF4-FFF2-40B4-BE49-F238E27FC236}">
                  <a16:creationId xmlns:a16="http://schemas.microsoft.com/office/drawing/2014/main" id="{3ED37CFD-ABFD-4AA0-B60B-A5BF8DB3E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8">
              <a:extLst>
                <a:ext uri="{FF2B5EF4-FFF2-40B4-BE49-F238E27FC236}">
                  <a16:creationId xmlns:a16="http://schemas.microsoft.com/office/drawing/2014/main" id="{1BC9659A-E604-48B4-B30A-860A1379C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5" name="组合 124">
              <a:extLst>
                <a:ext uri="{FF2B5EF4-FFF2-40B4-BE49-F238E27FC236}">
                  <a16:creationId xmlns:a16="http://schemas.microsoft.com/office/drawing/2014/main" id="{4919B734-99B7-458C-B806-69DE52FE4EB6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6" name="Freeform 6">
                <a:extLst>
                  <a:ext uri="{FF2B5EF4-FFF2-40B4-BE49-F238E27FC236}">
                    <a16:creationId xmlns:a16="http://schemas.microsoft.com/office/drawing/2014/main" id="{FA7FA697-46AF-4203-8AB4-AC00076670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0">
                <a:extLst>
                  <a:ext uri="{FF2B5EF4-FFF2-40B4-BE49-F238E27FC236}">
                    <a16:creationId xmlns:a16="http://schemas.microsoft.com/office/drawing/2014/main" id="{3C4C9466-58AA-4838-9D79-937FDE1354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13">
                <a:extLst>
                  <a:ext uri="{FF2B5EF4-FFF2-40B4-BE49-F238E27FC236}">
                    <a16:creationId xmlns:a16="http://schemas.microsoft.com/office/drawing/2014/main" id="{948A922A-4E3F-4810-ADF0-0F5C17D93A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6" name="组合 125">
              <a:extLst>
                <a:ext uri="{FF2B5EF4-FFF2-40B4-BE49-F238E27FC236}">
                  <a16:creationId xmlns:a16="http://schemas.microsoft.com/office/drawing/2014/main" id="{05CBBEFF-915C-4C53-8013-7FC832FB6C66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61" name="Freeform 9">
                <a:extLst>
                  <a:ext uri="{FF2B5EF4-FFF2-40B4-BE49-F238E27FC236}">
                    <a16:creationId xmlns:a16="http://schemas.microsoft.com/office/drawing/2014/main" id="{4EA8CB25-A7D8-4CCB-B47A-966CC3BD0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1">
                <a:extLst>
                  <a:ext uri="{FF2B5EF4-FFF2-40B4-BE49-F238E27FC236}">
                    <a16:creationId xmlns:a16="http://schemas.microsoft.com/office/drawing/2014/main" id="{B517AAA2-0B9E-48A5-8A86-07B1310570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2">
                <a:extLst>
                  <a:ext uri="{FF2B5EF4-FFF2-40B4-BE49-F238E27FC236}">
                    <a16:creationId xmlns:a16="http://schemas.microsoft.com/office/drawing/2014/main" id="{4B3BE619-7D7A-4E8E-96F4-FFFDA6FE7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14">
                <a:extLst>
                  <a:ext uri="{FF2B5EF4-FFF2-40B4-BE49-F238E27FC236}">
                    <a16:creationId xmlns:a16="http://schemas.microsoft.com/office/drawing/2014/main" id="{B12BFDEE-C509-471B-AEDF-CC8A9B059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15">
                <a:extLst>
                  <a:ext uri="{FF2B5EF4-FFF2-40B4-BE49-F238E27FC236}">
                    <a16:creationId xmlns:a16="http://schemas.microsoft.com/office/drawing/2014/main" id="{740E2858-1FA5-453D-BF82-8543BB571A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7" name="Freeform 16">
              <a:extLst>
                <a:ext uri="{FF2B5EF4-FFF2-40B4-BE49-F238E27FC236}">
                  <a16:creationId xmlns:a16="http://schemas.microsoft.com/office/drawing/2014/main" id="{41FA9D83-2920-4BD6-B6D5-BDA5C0D8B5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7">
              <a:extLst>
                <a:ext uri="{FF2B5EF4-FFF2-40B4-BE49-F238E27FC236}">
                  <a16:creationId xmlns:a16="http://schemas.microsoft.com/office/drawing/2014/main" id="{DE3DE6DC-37A1-4F4C-8AF4-D3E2FE57BB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18">
              <a:extLst>
                <a:ext uri="{FF2B5EF4-FFF2-40B4-BE49-F238E27FC236}">
                  <a16:creationId xmlns:a16="http://schemas.microsoft.com/office/drawing/2014/main" id="{56625D9E-958C-492B-B8FC-7577C7CD68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9">
              <a:extLst>
                <a:ext uri="{FF2B5EF4-FFF2-40B4-BE49-F238E27FC236}">
                  <a16:creationId xmlns:a16="http://schemas.microsoft.com/office/drawing/2014/main" id="{1B55192E-E56B-4A57-BF41-167096A4D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0">
              <a:extLst>
                <a:ext uri="{FF2B5EF4-FFF2-40B4-BE49-F238E27FC236}">
                  <a16:creationId xmlns:a16="http://schemas.microsoft.com/office/drawing/2014/main" id="{90CDEC93-D345-4665-873E-2C159A75E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1">
              <a:extLst>
                <a:ext uri="{FF2B5EF4-FFF2-40B4-BE49-F238E27FC236}">
                  <a16:creationId xmlns:a16="http://schemas.microsoft.com/office/drawing/2014/main" id="{492EDC9F-7768-44F1-9C4D-EDE95B8D1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2">
              <a:extLst>
                <a:ext uri="{FF2B5EF4-FFF2-40B4-BE49-F238E27FC236}">
                  <a16:creationId xmlns:a16="http://schemas.microsoft.com/office/drawing/2014/main" id="{50496717-7704-4DC1-A888-CE3886E5A3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3">
              <a:extLst>
                <a:ext uri="{FF2B5EF4-FFF2-40B4-BE49-F238E27FC236}">
                  <a16:creationId xmlns:a16="http://schemas.microsoft.com/office/drawing/2014/main" id="{DE0B1F1E-0FBC-4663-8742-4564BD9AF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24">
              <a:extLst>
                <a:ext uri="{FF2B5EF4-FFF2-40B4-BE49-F238E27FC236}">
                  <a16:creationId xmlns:a16="http://schemas.microsoft.com/office/drawing/2014/main" id="{9452D8BD-D5A0-418A-AD47-3F3E9077C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25">
              <a:extLst>
                <a:ext uri="{FF2B5EF4-FFF2-40B4-BE49-F238E27FC236}">
                  <a16:creationId xmlns:a16="http://schemas.microsoft.com/office/drawing/2014/main" id="{3DB3AD2A-D808-4250-948E-BBE9591DC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26">
              <a:extLst>
                <a:ext uri="{FF2B5EF4-FFF2-40B4-BE49-F238E27FC236}">
                  <a16:creationId xmlns:a16="http://schemas.microsoft.com/office/drawing/2014/main" id="{D026062D-E024-4482-AACA-1605EDAD9D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27">
              <a:extLst>
                <a:ext uri="{FF2B5EF4-FFF2-40B4-BE49-F238E27FC236}">
                  <a16:creationId xmlns:a16="http://schemas.microsoft.com/office/drawing/2014/main" id="{D0FBD10A-C056-45DF-B282-4F801EFBE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28">
              <a:extLst>
                <a:ext uri="{FF2B5EF4-FFF2-40B4-BE49-F238E27FC236}">
                  <a16:creationId xmlns:a16="http://schemas.microsoft.com/office/drawing/2014/main" id="{F03F1EAD-BA59-4172-A4E6-17611F7722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9">
              <a:extLst>
                <a:ext uri="{FF2B5EF4-FFF2-40B4-BE49-F238E27FC236}">
                  <a16:creationId xmlns:a16="http://schemas.microsoft.com/office/drawing/2014/main" id="{59656BB1-F474-46C6-9094-7C6F69FB7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0">
              <a:extLst>
                <a:ext uri="{FF2B5EF4-FFF2-40B4-BE49-F238E27FC236}">
                  <a16:creationId xmlns:a16="http://schemas.microsoft.com/office/drawing/2014/main" id="{6BE5CB86-7FC4-47A9-9BD5-5B8A074B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1">
              <a:extLst>
                <a:ext uri="{FF2B5EF4-FFF2-40B4-BE49-F238E27FC236}">
                  <a16:creationId xmlns:a16="http://schemas.microsoft.com/office/drawing/2014/main" id="{15B9BADF-0E86-4E75-8F75-74492CB96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2">
              <a:extLst>
                <a:ext uri="{FF2B5EF4-FFF2-40B4-BE49-F238E27FC236}">
                  <a16:creationId xmlns:a16="http://schemas.microsoft.com/office/drawing/2014/main" id="{5108697C-D2A1-4FEC-9724-D78E3C2EA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3">
              <a:extLst>
                <a:ext uri="{FF2B5EF4-FFF2-40B4-BE49-F238E27FC236}">
                  <a16:creationId xmlns:a16="http://schemas.microsoft.com/office/drawing/2014/main" id="{F538E9C3-4873-4053-9E8C-362A8FB220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4">
              <a:extLst>
                <a:ext uri="{FF2B5EF4-FFF2-40B4-BE49-F238E27FC236}">
                  <a16:creationId xmlns:a16="http://schemas.microsoft.com/office/drawing/2014/main" id="{DEC02708-878B-423C-B615-DCB7D9EDC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5">
              <a:extLst>
                <a:ext uri="{FF2B5EF4-FFF2-40B4-BE49-F238E27FC236}">
                  <a16:creationId xmlns:a16="http://schemas.microsoft.com/office/drawing/2014/main" id="{FDAFCE6F-9D36-4AFC-B918-45C12A185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6">
              <a:extLst>
                <a:ext uri="{FF2B5EF4-FFF2-40B4-BE49-F238E27FC236}">
                  <a16:creationId xmlns:a16="http://schemas.microsoft.com/office/drawing/2014/main" id="{CDC5D0E5-2341-485A-8AF6-FDD38397D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7">
              <a:extLst>
                <a:ext uri="{FF2B5EF4-FFF2-40B4-BE49-F238E27FC236}">
                  <a16:creationId xmlns:a16="http://schemas.microsoft.com/office/drawing/2014/main" id="{49CF6C13-94FB-4241-9A82-4FEB9CE4F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8">
              <a:extLst>
                <a:ext uri="{FF2B5EF4-FFF2-40B4-BE49-F238E27FC236}">
                  <a16:creationId xmlns:a16="http://schemas.microsoft.com/office/drawing/2014/main" id="{5FBD63F6-B7B0-4C19-BAD2-B115D1689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9">
              <a:extLst>
                <a:ext uri="{FF2B5EF4-FFF2-40B4-BE49-F238E27FC236}">
                  <a16:creationId xmlns:a16="http://schemas.microsoft.com/office/drawing/2014/main" id="{98BE2DAC-CE00-49CE-8D53-7BF3F444F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0">
              <a:extLst>
                <a:ext uri="{FF2B5EF4-FFF2-40B4-BE49-F238E27FC236}">
                  <a16:creationId xmlns:a16="http://schemas.microsoft.com/office/drawing/2014/main" id="{4717E170-ADC5-4157-A62B-D87BED58B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1">
              <a:extLst>
                <a:ext uri="{FF2B5EF4-FFF2-40B4-BE49-F238E27FC236}">
                  <a16:creationId xmlns:a16="http://schemas.microsoft.com/office/drawing/2014/main" id="{3648A078-B486-4435-A641-6435D6A69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2">
              <a:extLst>
                <a:ext uri="{FF2B5EF4-FFF2-40B4-BE49-F238E27FC236}">
                  <a16:creationId xmlns:a16="http://schemas.microsoft.com/office/drawing/2014/main" id="{31DA4600-C00B-4A69-B6AE-E53F17221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43">
              <a:extLst>
                <a:ext uri="{FF2B5EF4-FFF2-40B4-BE49-F238E27FC236}">
                  <a16:creationId xmlns:a16="http://schemas.microsoft.com/office/drawing/2014/main" id="{5FE709BC-7179-4E19-8C14-B041916EB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44">
              <a:extLst>
                <a:ext uri="{FF2B5EF4-FFF2-40B4-BE49-F238E27FC236}">
                  <a16:creationId xmlns:a16="http://schemas.microsoft.com/office/drawing/2014/main" id="{AF9762AA-C557-4DCD-BADB-FFE9E53047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45">
              <a:extLst>
                <a:ext uri="{FF2B5EF4-FFF2-40B4-BE49-F238E27FC236}">
                  <a16:creationId xmlns:a16="http://schemas.microsoft.com/office/drawing/2014/main" id="{73F85C42-2C4F-47B8-A5DA-DEDD9F4F1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46">
              <a:extLst>
                <a:ext uri="{FF2B5EF4-FFF2-40B4-BE49-F238E27FC236}">
                  <a16:creationId xmlns:a16="http://schemas.microsoft.com/office/drawing/2014/main" id="{DBCAE612-0189-4EB3-8605-F34EC7B4C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47">
              <a:extLst>
                <a:ext uri="{FF2B5EF4-FFF2-40B4-BE49-F238E27FC236}">
                  <a16:creationId xmlns:a16="http://schemas.microsoft.com/office/drawing/2014/main" id="{D4E5597E-6485-4704-BFA7-334AE9D3B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48">
              <a:extLst>
                <a:ext uri="{FF2B5EF4-FFF2-40B4-BE49-F238E27FC236}">
                  <a16:creationId xmlns:a16="http://schemas.microsoft.com/office/drawing/2014/main" id="{FF3C8819-BF17-4935-A099-6381D2BB2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49">
              <a:extLst>
                <a:ext uri="{FF2B5EF4-FFF2-40B4-BE49-F238E27FC236}">
                  <a16:creationId xmlns:a16="http://schemas.microsoft.com/office/drawing/2014/main" id="{3D8356E0-63F5-43B9-B84E-9CD30EBE6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867" y="2032403"/>
            <a:ext cx="9082268" cy="923330"/>
          </a:xfrm>
        </p:spPr>
        <p:txBody>
          <a:bodyPr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3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8F19B7F-65B9-4778-86D3-AB8EEFACE9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867" y="2982132"/>
            <a:ext cx="9082268" cy="400110"/>
          </a:xfrm>
        </p:spPr>
        <p:txBody>
          <a:bodyPr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73" name="矩形 172">
            <a:extLst>
              <a:ext uri="{FF2B5EF4-FFF2-40B4-BE49-F238E27FC236}">
                <a16:creationId xmlns:a16="http://schemas.microsoft.com/office/drawing/2014/main" id="{7E938967-9990-4D4C-B37A-F8DB3BCFD867}"/>
              </a:ext>
            </a:extLst>
          </p:cNvPr>
          <p:cNvSpPr/>
          <p:nvPr userDrawn="1"/>
        </p:nvSpPr>
        <p:spPr>
          <a:xfrm>
            <a:off x="1554867" y="3469009"/>
            <a:ext cx="9082268" cy="32747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74" name="任意多边形: 形状 173">
            <a:extLst>
              <a:ext uri="{FF2B5EF4-FFF2-40B4-BE49-F238E27FC236}">
                <a16:creationId xmlns:a16="http://schemas.microsoft.com/office/drawing/2014/main" id="{4BEC4AA5-D1F8-44A4-B512-F9342C25CB24}"/>
              </a:ext>
            </a:extLst>
          </p:cNvPr>
          <p:cNvSpPr/>
          <p:nvPr userDrawn="1"/>
        </p:nvSpPr>
        <p:spPr>
          <a:xfrm>
            <a:off x="5820641" y="-1"/>
            <a:ext cx="550718" cy="716973"/>
          </a:xfrm>
          <a:custGeom>
            <a:avLst/>
            <a:gdLst>
              <a:gd name="connsiteX0" fmla="*/ 0 w 550718"/>
              <a:gd name="connsiteY0" fmla="*/ 0 h 636270"/>
              <a:gd name="connsiteX1" fmla="*/ 550718 w 550718"/>
              <a:gd name="connsiteY1" fmla="*/ 0 h 636270"/>
              <a:gd name="connsiteX2" fmla="*/ 550718 w 550718"/>
              <a:gd name="connsiteY2" fmla="*/ 636270 h 636270"/>
              <a:gd name="connsiteX3" fmla="*/ 332814 w 550718"/>
              <a:gd name="connsiteY3" fmla="*/ 636270 h 636270"/>
              <a:gd name="connsiteX4" fmla="*/ 275359 w 550718"/>
              <a:gd name="connsiteY4" fmla="*/ 537210 h 636270"/>
              <a:gd name="connsiteX5" fmla="*/ 217904 w 550718"/>
              <a:gd name="connsiteY5" fmla="*/ 636270 h 636270"/>
              <a:gd name="connsiteX6" fmla="*/ 0 w 550718"/>
              <a:gd name="connsiteY6" fmla="*/ 636270 h 636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0718" h="636270">
                <a:moveTo>
                  <a:pt x="0" y="0"/>
                </a:moveTo>
                <a:lnTo>
                  <a:pt x="550718" y="0"/>
                </a:lnTo>
                <a:lnTo>
                  <a:pt x="550718" y="636270"/>
                </a:lnTo>
                <a:lnTo>
                  <a:pt x="332814" y="636270"/>
                </a:lnTo>
                <a:lnTo>
                  <a:pt x="275359" y="537210"/>
                </a:lnTo>
                <a:lnTo>
                  <a:pt x="217904" y="636270"/>
                </a:lnTo>
                <a:lnTo>
                  <a:pt x="0" y="63627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任意多边形: 形状 174">
            <a:extLst>
              <a:ext uri="{FF2B5EF4-FFF2-40B4-BE49-F238E27FC236}">
                <a16:creationId xmlns:a16="http://schemas.microsoft.com/office/drawing/2014/main" id="{34BE90AC-B87D-4628-BB01-C0BD9552F31A}"/>
              </a:ext>
            </a:extLst>
          </p:cNvPr>
          <p:cNvSpPr/>
          <p:nvPr userDrawn="1"/>
        </p:nvSpPr>
        <p:spPr>
          <a:xfrm>
            <a:off x="5849216" y="-1"/>
            <a:ext cx="550718" cy="751263"/>
          </a:xfrm>
          <a:custGeom>
            <a:avLst/>
            <a:gdLst>
              <a:gd name="connsiteX0" fmla="*/ 0 w 550718"/>
              <a:gd name="connsiteY0" fmla="*/ 0 h 751263"/>
              <a:gd name="connsiteX1" fmla="*/ 550718 w 550718"/>
              <a:gd name="connsiteY1" fmla="*/ 0 h 751263"/>
              <a:gd name="connsiteX2" fmla="*/ 550718 w 550718"/>
              <a:gd name="connsiteY2" fmla="*/ 34290 h 751263"/>
              <a:gd name="connsiteX3" fmla="*/ 550718 w 550718"/>
              <a:gd name="connsiteY3" fmla="*/ 97155 h 751263"/>
              <a:gd name="connsiteX4" fmla="*/ 550718 w 550718"/>
              <a:gd name="connsiteY4" fmla="*/ 751263 h 751263"/>
              <a:gd name="connsiteX5" fmla="*/ 332814 w 550718"/>
              <a:gd name="connsiteY5" fmla="*/ 751263 h 751263"/>
              <a:gd name="connsiteX6" fmla="*/ 275359 w 550718"/>
              <a:gd name="connsiteY6" fmla="*/ 639638 h 751263"/>
              <a:gd name="connsiteX7" fmla="*/ 217904 w 550718"/>
              <a:gd name="connsiteY7" fmla="*/ 751263 h 751263"/>
              <a:gd name="connsiteX8" fmla="*/ 0 w 550718"/>
              <a:gd name="connsiteY8" fmla="*/ 751263 h 751263"/>
              <a:gd name="connsiteX9" fmla="*/ 0 w 550718"/>
              <a:gd name="connsiteY9" fmla="*/ 97155 h 751263"/>
              <a:gd name="connsiteX10" fmla="*/ 0 w 550718"/>
              <a:gd name="connsiteY10" fmla="*/ 34290 h 751263"/>
              <a:gd name="connsiteX0" fmla="*/ 0 w 550718"/>
              <a:gd name="connsiteY0" fmla="*/ 15239 h 766502"/>
              <a:gd name="connsiteX1" fmla="*/ 471574 w 550718"/>
              <a:gd name="connsiteY1" fmla="*/ 0 h 766502"/>
              <a:gd name="connsiteX2" fmla="*/ 550718 w 550718"/>
              <a:gd name="connsiteY2" fmla="*/ 15239 h 766502"/>
              <a:gd name="connsiteX3" fmla="*/ 550718 w 550718"/>
              <a:gd name="connsiteY3" fmla="*/ 49529 h 766502"/>
              <a:gd name="connsiteX4" fmla="*/ 550718 w 550718"/>
              <a:gd name="connsiteY4" fmla="*/ 112394 h 766502"/>
              <a:gd name="connsiteX5" fmla="*/ 550718 w 550718"/>
              <a:gd name="connsiteY5" fmla="*/ 766502 h 766502"/>
              <a:gd name="connsiteX6" fmla="*/ 332814 w 550718"/>
              <a:gd name="connsiteY6" fmla="*/ 766502 h 766502"/>
              <a:gd name="connsiteX7" fmla="*/ 275359 w 550718"/>
              <a:gd name="connsiteY7" fmla="*/ 654877 h 766502"/>
              <a:gd name="connsiteX8" fmla="*/ 217904 w 550718"/>
              <a:gd name="connsiteY8" fmla="*/ 766502 h 766502"/>
              <a:gd name="connsiteX9" fmla="*/ 0 w 550718"/>
              <a:gd name="connsiteY9" fmla="*/ 766502 h 766502"/>
              <a:gd name="connsiteX10" fmla="*/ 0 w 550718"/>
              <a:gd name="connsiteY10" fmla="*/ 112394 h 766502"/>
              <a:gd name="connsiteX11" fmla="*/ 0 w 550718"/>
              <a:gd name="connsiteY11" fmla="*/ 49529 h 766502"/>
              <a:gd name="connsiteX12" fmla="*/ 0 w 550718"/>
              <a:gd name="connsiteY12" fmla="*/ 15239 h 766502"/>
              <a:gd name="connsiteX0" fmla="*/ 471574 w 563014"/>
              <a:gd name="connsiteY0" fmla="*/ 0 h 766502"/>
              <a:gd name="connsiteX1" fmla="*/ 550718 w 563014"/>
              <a:gd name="connsiteY1" fmla="*/ 15239 h 766502"/>
              <a:gd name="connsiteX2" fmla="*/ 550718 w 563014"/>
              <a:gd name="connsiteY2" fmla="*/ 49529 h 766502"/>
              <a:gd name="connsiteX3" fmla="*/ 550718 w 563014"/>
              <a:gd name="connsiteY3" fmla="*/ 112394 h 766502"/>
              <a:gd name="connsiteX4" fmla="*/ 550718 w 563014"/>
              <a:gd name="connsiteY4" fmla="*/ 766502 h 766502"/>
              <a:gd name="connsiteX5" fmla="*/ 332814 w 563014"/>
              <a:gd name="connsiteY5" fmla="*/ 766502 h 766502"/>
              <a:gd name="connsiteX6" fmla="*/ 275359 w 563014"/>
              <a:gd name="connsiteY6" fmla="*/ 654877 h 766502"/>
              <a:gd name="connsiteX7" fmla="*/ 217904 w 563014"/>
              <a:gd name="connsiteY7" fmla="*/ 766502 h 766502"/>
              <a:gd name="connsiteX8" fmla="*/ 0 w 563014"/>
              <a:gd name="connsiteY8" fmla="*/ 766502 h 766502"/>
              <a:gd name="connsiteX9" fmla="*/ 0 w 563014"/>
              <a:gd name="connsiteY9" fmla="*/ 112394 h 766502"/>
              <a:gd name="connsiteX10" fmla="*/ 0 w 563014"/>
              <a:gd name="connsiteY10" fmla="*/ 49529 h 766502"/>
              <a:gd name="connsiteX11" fmla="*/ 0 w 563014"/>
              <a:gd name="connsiteY11" fmla="*/ 15239 h 766502"/>
              <a:gd name="connsiteX12" fmla="*/ 563014 w 563014"/>
              <a:gd name="connsiteY12" fmla="*/ 91440 h 766502"/>
              <a:gd name="connsiteX0" fmla="*/ 550718 w 563014"/>
              <a:gd name="connsiteY0" fmla="*/ 1132 h 752395"/>
              <a:gd name="connsiteX1" fmla="*/ 550718 w 563014"/>
              <a:gd name="connsiteY1" fmla="*/ 35422 h 752395"/>
              <a:gd name="connsiteX2" fmla="*/ 550718 w 563014"/>
              <a:gd name="connsiteY2" fmla="*/ 98287 h 752395"/>
              <a:gd name="connsiteX3" fmla="*/ 550718 w 563014"/>
              <a:gd name="connsiteY3" fmla="*/ 752395 h 752395"/>
              <a:gd name="connsiteX4" fmla="*/ 332814 w 563014"/>
              <a:gd name="connsiteY4" fmla="*/ 752395 h 752395"/>
              <a:gd name="connsiteX5" fmla="*/ 275359 w 563014"/>
              <a:gd name="connsiteY5" fmla="*/ 640770 h 752395"/>
              <a:gd name="connsiteX6" fmla="*/ 217904 w 563014"/>
              <a:gd name="connsiteY6" fmla="*/ 752395 h 752395"/>
              <a:gd name="connsiteX7" fmla="*/ 0 w 563014"/>
              <a:gd name="connsiteY7" fmla="*/ 752395 h 752395"/>
              <a:gd name="connsiteX8" fmla="*/ 0 w 563014"/>
              <a:gd name="connsiteY8" fmla="*/ 98287 h 752395"/>
              <a:gd name="connsiteX9" fmla="*/ 0 w 563014"/>
              <a:gd name="connsiteY9" fmla="*/ 35422 h 752395"/>
              <a:gd name="connsiteX10" fmla="*/ 0 w 563014"/>
              <a:gd name="connsiteY10" fmla="*/ 1132 h 752395"/>
              <a:gd name="connsiteX11" fmla="*/ 563014 w 563014"/>
              <a:gd name="connsiteY11" fmla="*/ 77333 h 752395"/>
              <a:gd name="connsiteX0" fmla="*/ 550718 w 550718"/>
              <a:gd name="connsiteY0" fmla="*/ 0 h 751263"/>
              <a:gd name="connsiteX1" fmla="*/ 550718 w 550718"/>
              <a:gd name="connsiteY1" fmla="*/ 34290 h 751263"/>
              <a:gd name="connsiteX2" fmla="*/ 550718 w 550718"/>
              <a:gd name="connsiteY2" fmla="*/ 97155 h 751263"/>
              <a:gd name="connsiteX3" fmla="*/ 550718 w 550718"/>
              <a:gd name="connsiteY3" fmla="*/ 751263 h 751263"/>
              <a:gd name="connsiteX4" fmla="*/ 332814 w 550718"/>
              <a:gd name="connsiteY4" fmla="*/ 751263 h 751263"/>
              <a:gd name="connsiteX5" fmla="*/ 275359 w 550718"/>
              <a:gd name="connsiteY5" fmla="*/ 639638 h 751263"/>
              <a:gd name="connsiteX6" fmla="*/ 217904 w 550718"/>
              <a:gd name="connsiteY6" fmla="*/ 751263 h 751263"/>
              <a:gd name="connsiteX7" fmla="*/ 0 w 550718"/>
              <a:gd name="connsiteY7" fmla="*/ 751263 h 751263"/>
              <a:gd name="connsiteX8" fmla="*/ 0 w 550718"/>
              <a:gd name="connsiteY8" fmla="*/ 97155 h 751263"/>
              <a:gd name="connsiteX9" fmla="*/ 0 w 550718"/>
              <a:gd name="connsiteY9" fmla="*/ 34290 h 751263"/>
              <a:gd name="connsiteX10" fmla="*/ 0 w 550718"/>
              <a:gd name="connsiteY10" fmla="*/ 0 h 751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50718" h="751263">
                <a:moveTo>
                  <a:pt x="550718" y="0"/>
                </a:moveTo>
                <a:lnTo>
                  <a:pt x="550718" y="34290"/>
                </a:lnTo>
                <a:lnTo>
                  <a:pt x="550718" y="97155"/>
                </a:lnTo>
                <a:lnTo>
                  <a:pt x="550718" y="751263"/>
                </a:lnTo>
                <a:lnTo>
                  <a:pt x="332814" y="751263"/>
                </a:lnTo>
                <a:lnTo>
                  <a:pt x="275359" y="639638"/>
                </a:lnTo>
                <a:lnTo>
                  <a:pt x="217904" y="751263"/>
                </a:lnTo>
                <a:lnTo>
                  <a:pt x="0" y="751263"/>
                </a:lnTo>
                <a:lnTo>
                  <a:pt x="0" y="97155"/>
                </a:lnTo>
                <a:lnTo>
                  <a:pt x="0" y="3429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文本占位符 4">
            <a:extLst>
              <a:ext uri="{FF2B5EF4-FFF2-40B4-BE49-F238E27FC236}">
                <a16:creationId xmlns:a16="http://schemas.microsoft.com/office/drawing/2014/main" id="{DC437160-BB97-44C1-8BDB-40589304DC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64083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</a:p>
        </p:txBody>
      </p:sp>
      <p:sp>
        <p:nvSpPr>
          <p:cNvPr id="66" name="文本占位符 4">
            <a:extLst>
              <a:ext uri="{FF2B5EF4-FFF2-40B4-BE49-F238E27FC236}">
                <a16:creationId xmlns:a16="http://schemas.microsoft.com/office/drawing/2014/main" id="{3F3F4C10-99CA-4EBB-91A6-AE6D80F1C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1008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</a:p>
        </p:txBody>
      </p:sp>
    </p:spTree>
    <p:extLst>
      <p:ext uri="{BB962C8B-B14F-4D97-AF65-F5344CB8AC3E}">
        <p14:creationId xmlns:p14="http://schemas.microsoft.com/office/powerpoint/2010/main" val="17529446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图片 62">
            <a:extLst>
              <a:ext uri="{FF2B5EF4-FFF2-40B4-BE49-F238E27FC236}">
                <a16:creationId xmlns:a16="http://schemas.microsoft.com/office/drawing/2014/main" id="{CA1FD822-DF3A-491C-AF58-72DBE7CD63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pic>
        <p:nvPicPr>
          <p:cNvPr id="64" name="图片 63">
            <a:extLst>
              <a:ext uri="{FF2B5EF4-FFF2-40B4-BE49-F238E27FC236}">
                <a16:creationId xmlns:a16="http://schemas.microsoft.com/office/drawing/2014/main" id="{84EF9397-4DAA-41C2-8F95-6087DF7D94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9773" y="0"/>
            <a:ext cx="4010890" cy="6858000"/>
          </a:xfrm>
          <a:prstGeom prst="parallelogram">
            <a:avLst>
              <a:gd name="adj" fmla="val 46011"/>
            </a:avLst>
          </a:prstGeom>
        </p:spPr>
      </p:pic>
      <p:pic>
        <p:nvPicPr>
          <p:cNvPr id="65" name="图片 64">
            <a:extLst>
              <a:ext uri="{FF2B5EF4-FFF2-40B4-BE49-F238E27FC236}">
                <a16:creationId xmlns:a16="http://schemas.microsoft.com/office/drawing/2014/main" id="{B11C90AD-F631-4934-B596-EA56B30E4F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99380" y="0"/>
            <a:ext cx="2824675" cy="6858000"/>
          </a:xfrm>
          <a:prstGeom prst="parallelogram">
            <a:avLst>
              <a:gd name="adj" fmla="val 66271"/>
            </a:avLst>
          </a:prstGeom>
        </p:spPr>
      </p:pic>
      <p:sp>
        <p:nvSpPr>
          <p:cNvPr id="116" name="平行四边形 115">
            <a:extLst>
              <a:ext uri="{FF2B5EF4-FFF2-40B4-BE49-F238E27FC236}">
                <a16:creationId xmlns:a16="http://schemas.microsoft.com/office/drawing/2014/main" id="{A5041862-8590-4846-864B-54DE0E6D5862}"/>
              </a:ext>
            </a:extLst>
          </p:cNvPr>
          <p:cNvSpPr/>
          <p:nvPr userDrawn="1"/>
        </p:nvSpPr>
        <p:spPr>
          <a:xfrm>
            <a:off x="259773" y="0"/>
            <a:ext cx="4010890" cy="6858000"/>
          </a:xfrm>
          <a:prstGeom prst="parallelogram">
            <a:avLst>
              <a:gd name="adj" fmla="val 45700"/>
            </a:avLst>
          </a:prstGeom>
          <a:solidFill>
            <a:schemeClr val="accent1"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平行四边形 116">
            <a:extLst>
              <a:ext uri="{FF2B5EF4-FFF2-40B4-BE49-F238E27FC236}">
                <a16:creationId xmlns:a16="http://schemas.microsoft.com/office/drawing/2014/main" id="{C1AE957B-9C6C-48A4-ADA8-A71A2EC80E8E}"/>
              </a:ext>
            </a:extLst>
          </p:cNvPr>
          <p:cNvSpPr/>
          <p:nvPr userDrawn="1"/>
        </p:nvSpPr>
        <p:spPr>
          <a:xfrm>
            <a:off x="2599380" y="0"/>
            <a:ext cx="2824675" cy="6858000"/>
          </a:xfrm>
          <a:prstGeom prst="parallelogram">
            <a:avLst>
              <a:gd name="adj" fmla="val 65960"/>
            </a:avLst>
          </a:prstGeom>
          <a:solidFill>
            <a:schemeClr val="accent2"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48886" y="2292367"/>
            <a:ext cx="7263689" cy="923330"/>
          </a:xfrm>
          <a:noFill/>
          <a:effectLst/>
        </p:spPr>
        <p:txBody>
          <a:bodyPr wrap="square" lIns="0" rIns="0" rtlCol="0" anchor="ctr">
            <a:noAutofit/>
          </a:bodyPr>
          <a:lstStyle>
            <a:lvl1pPr>
              <a:defRPr lang="en-US" sz="5400" b="1" spc="3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defTabSz="457200"/>
            <a:endParaRPr lang="en-US" dirty="0"/>
          </a:p>
        </p:txBody>
      </p:sp>
      <p:sp>
        <p:nvSpPr>
          <p:cNvPr id="124" name="内容占位符 123">
            <a:extLst>
              <a:ext uri="{FF2B5EF4-FFF2-40B4-BE49-F238E27FC236}">
                <a16:creationId xmlns:a16="http://schemas.microsoft.com/office/drawing/2014/main" id="{86706487-BF24-4224-A47D-9E1CEDA4525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48886" y="4227024"/>
            <a:ext cx="2393258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621C1C06-275B-4702-87F2-67A313DD679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344446" y="4227024"/>
            <a:ext cx="2719160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cxnSp>
        <p:nvCxnSpPr>
          <p:cNvPr id="175" name="直接连接符 174">
            <a:extLst>
              <a:ext uri="{FF2B5EF4-FFF2-40B4-BE49-F238E27FC236}">
                <a16:creationId xmlns:a16="http://schemas.microsoft.com/office/drawing/2014/main" id="{6EECF4F2-BAF9-44C3-B57F-DBA832A2290A}"/>
              </a:ext>
            </a:extLst>
          </p:cNvPr>
          <p:cNvCxnSpPr>
            <a:cxnSpLocks/>
          </p:cNvCxnSpPr>
          <p:nvPr/>
        </p:nvCxnSpPr>
        <p:spPr>
          <a:xfrm>
            <a:off x="6842144" y="4288100"/>
            <a:ext cx="0" cy="26785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F07AA774-0670-4843-AD04-365EDDCDBA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8886" y="3189478"/>
            <a:ext cx="7263689" cy="400110"/>
          </a:xfrm>
        </p:spPr>
        <p:txBody>
          <a:bodyPr lIns="0" tIns="0" rIns="0" bIns="0" anchor="ctr"/>
          <a:lstStyle>
            <a:lvl1pPr>
              <a:defRPr sz="1600" spc="3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85459574-8297-4666-9DA0-3E5D872CEC4D}"/>
              </a:ext>
            </a:extLst>
          </p:cNvPr>
          <p:cNvSpPr/>
          <p:nvPr userDrawn="1"/>
        </p:nvSpPr>
        <p:spPr>
          <a:xfrm>
            <a:off x="4448886" y="3724242"/>
            <a:ext cx="7743114" cy="45719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EE714EAB-07D9-44B5-B78B-6FEAA839B374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7FA45D93-729E-4D6F-A3FC-2D5359541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7">
              <a:extLst>
                <a:ext uri="{FF2B5EF4-FFF2-40B4-BE49-F238E27FC236}">
                  <a16:creationId xmlns:a16="http://schemas.microsoft.com/office/drawing/2014/main" id="{DC35FD30-451B-40C2-85D1-5021B188A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8">
              <a:extLst>
                <a:ext uri="{FF2B5EF4-FFF2-40B4-BE49-F238E27FC236}">
                  <a16:creationId xmlns:a16="http://schemas.microsoft.com/office/drawing/2014/main" id="{3AF62E0C-227D-4B9D-AFA2-99F99303A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8" name="组合 117">
              <a:extLst>
                <a:ext uri="{FF2B5EF4-FFF2-40B4-BE49-F238E27FC236}">
                  <a16:creationId xmlns:a16="http://schemas.microsoft.com/office/drawing/2014/main" id="{1D9D4E96-1150-4F92-A799-49013E3B02AD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0" name="Freeform 6">
                <a:extLst>
                  <a:ext uri="{FF2B5EF4-FFF2-40B4-BE49-F238E27FC236}">
                    <a16:creationId xmlns:a16="http://schemas.microsoft.com/office/drawing/2014/main" id="{4984EB27-7370-42FA-887C-1D1E13F336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10">
                <a:extLst>
                  <a:ext uri="{FF2B5EF4-FFF2-40B4-BE49-F238E27FC236}">
                    <a16:creationId xmlns:a16="http://schemas.microsoft.com/office/drawing/2014/main" id="{FAA5CAB3-2C92-402D-A7FE-C1AF22674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3">
                <a:extLst>
                  <a:ext uri="{FF2B5EF4-FFF2-40B4-BE49-F238E27FC236}">
                    <a16:creationId xmlns:a16="http://schemas.microsoft.com/office/drawing/2014/main" id="{E091D213-D18A-454B-AD1A-4778B404D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9" name="组合 118">
              <a:extLst>
                <a:ext uri="{FF2B5EF4-FFF2-40B4-BE49-F238E27FC236}">
                  <a16:creationId xmlns:a16="http://schemas.microsoft.com/office/drawing/2014/main" id="{E6D2E5A5-737D-45E9-A0B6-EA91C4EFE82C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55" name="Freeform 9">
                <a:extLst>
                  <a:ext uri="{FF2B5EF4-FFF2-40B4-BE49-F238E27FC236}">
                    <a16:creationId xmlns:a16="http://schemas.microsoft.com/office/drawing/2014/main" id="{B6B5DDB8-28B4-41F1-8444-0F359E9E0B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1">
                <a:extLst>
                  <a:ext uri="{FF2B5EF4-FFF2-40B4-BE49-F238E27FC236}">
                    <a16:creationId xmlns:a16="http://schemas.microsoft.com/office/drawing/2014/main" id="{6F783C74-733F-496F-A0C4-C50B22062A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2">
                <a:extLst>
                  <a:ext uri="{FF2B5EF4-FFF2-40B4-BE49-F238E27FC236}">
                    <a16:creationId xmlns:a16="http://schemas.microsoft.com/office/drawing/2014/main" id="{0309682E-33D6-4654-B94A-FCD78CC893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14">
                <a:extLst>
                  <a:ext uri="{FF2B5EF4-FFF2-40B4-BE49-F238E27FC236}">
                    <a16:creationId xmlns:a16="http://schemas.microsoft.com/office/drawing/2014/main" id="{99A3BEB0-9054-4932-A9CE-96E5CE8835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5">
                <a:extLst>
                  <a:ext uri="{FF2B5EF4-FFF2-40B4-BE49-F238E27FC236}">
                    <a16:creationId xmlns:a16="http://schemas.microsoft.com/office/drawing/2014/main" id="{0A160E54-2976-42F3-ACC8-D3C79ED4E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3E26CEAB-5E1B-4A81-8C79-D5F622E885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B02B6C1C-BD98-42A1-82CA-B3622E1C00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18">
              <a:extLst>
                <a:ext uri="{FF2B5EF4-FFF2-40B4-BE49-F238E27FC236}">
                  <a16:creationId xmlns:a16="http://schemas.microsoft.com/office/drawing/2014/main" id="{E2551171-B8AC-4115-8748-5FFC1DC34C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CC26B7B1-3A45-4755-ABB4-AF9ED89F9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0">
              <a:extLst>
                <a:ext uri="{FF2B5EF4-FFF2-40B4-BE49-F238E27FC236}">
                  <a16:creationId xmlns:a16="http://schemas.microsoft.com/office/drawing/2014/main" id="{793DC595-7878-4340-BAB9-8679FD312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1">
              <a:extLst>
                <a:ext uri="{FF2B5EF4-FFF2-40B4-BE49-F238E27FC236}">
                  <a16:creationId xmlns:a16="http://schemas.microsoft.com/office/drawing/2014/main" id="{72B0CA91-C35D-438D-922D-69126B89A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2">
              <a:extLst>
                <a:ext uri="{FF2B5EF4-FFF2-40B4-BE49-F238E27FC236}">
                  <a16:creationId xmlns:a16="http://schemas.microsoft.com/office/drawing/2014/main" id="{4FB8B689-EC24-426F-83FB-92F94C66E8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3">
              <a:extLst>
                <a:ext uri="{FF2B5EF4-FFF2-40B4-BE49-F238E27FC236}">
                  <a16:creationId xmlns:a16="http://schemas.microsoft.com/office/drawing/2014/main" id="{8CB84DC3-8747-42BB-9172-7D2F1FEEB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4">
              <a:extLst>
                <a:ext uri="{FF2B5EF4-FFF2-40B4-BE49-F238E27FC236}">
                  <a16:creationId xmlns:a16="http://schemas.microsoft.com/office/drawing/2014/main" id="{F2F08511-9F41-4493-83B5-022C5EFAA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5">
              <a:extLst>
                <a:ext uri="{FF2B5EF4-FFF2-40B4-BE49-F238E27FC236}">
                  <a16:creationId xmlns:a16="http://schemas.microsoft.com/office/drawing/2014/main" id="{8884A7A1-10C5-4E32-97C1-1E8BFA8B4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6">
              <a:extLst>
                <a:ext uri="{FF2B5EF4-FFF2-40B4-BE49-F238E27FC236}">
                  <a16:creationId xmlns:a16="http://schemas.microsoft.com/office/drawing/2014/main" id="{893CF468-FDBF-42AE-B899-AD1D32084E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7">
              <a:extLst>
                <a:ext uri="{FF2B5EF4-FFF2-40B4-BE49-F238E27FC236}">
                  <a16:creationId xmlns:a16="http://schemas.microsoft.com/office/drawing/2014/main" id="{1132D65F-FA9E-4B90-8949-FE031C694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8">
              <a:extLst>
                <a:ext uri="{FF2B5EF4-FFF2-40B4-BE49-F238E27FC236}">
                  <a16:creationId xmlns:a16="http://schemas.microsoft.com/office/drawing/2014/main" id="{FBD8B304-E1CF-4819-A8B0-935D03EE2C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9">
              <a:extLst>
                <a:ext uri="{FF2B5EF4-FFF2-40B4-BE49-F238E27FC236}">
                  <a16:creationId xmlns:a16="http://schemas.microsoft.com/office/drawing/2014/main" id="{6366D1E3-0F90-43C1-B4D8-6DF3DA6C7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0">
              <a:extLst>
                <a:ext uri="{FF2B5EF4-FFF2-40B4-BE49-F238E27FC236}">
                  <a16:creationId xmlns:a16="http://schemas.microsoft.com/office/drawing/2014/main" id="{F746B62C-19F6-44D8-A9F3-EE46A367E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1">
              <a:extLst>
                <a:ext uri="{FF2B5EF4-FFF2-40B4-BE49-F238E27FC236}">
                  <a16:creationId xmlns:a16="http://schemas.microsoft.com/office/drawing/2014/main" id="{6BFCB56A-CFC9-4634-BF8A-D9832955A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2">
              <a:extLst>
                <a:ext uri="{FF2B5EF4-FFF2-40B4-BE49-F238E27FC236}">
                  <a16:creationId xmlns:a16="http://schemas.microsoft.com/office/drawing/2014/main" id="{1DD4FC40-A939-43FF-9382-A97E379F4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3">
              <a:extLst>
                <a:ext uri="{FF2B5EF4-FFF2-40B4-BE49-F238E27FC236}">
                  <a16:creationId xmlns:a16="http://schemas.microsoft.com/office/drawing/2014/main" id="{683CEE68-60F9-45CB-9995-5992BA9FF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4">
              <a:extLst>
                <a:ext uri="{FF2B5EF4-FFF2-40B4-BE49-F238E27FC236}">
                  <a16:creationId xmlns:a16="http://schemas.microsoft.com/office/drawing/2014/main" id="{20599052-7279-48CE-846F-CE21E06E5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5">
              <a:extLst>
                <a:ext uri="{FF2B5EF4-FFF2-40B4-BE49-F238E27FC236}">
                  <a16:creationId xmlns:a16="http://schemas.microsoft.com/office/drawing/2014/main" id="{A698E171-F66B-496B-808D-85E95095B6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6">
              <a:extLst>
                <a:ext uri="{FF2B5EF4-FFF2-40B4-BE49-F238E27FC236}">
                  <a16:creationId xmlns:a16="http://schemas.microsoft.com/office/drawing/2014/main" id="{197C7EE8-81EB-4D12-BF52-A7F5CFD4D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7">
              <a:extLst>
                <a:ext uri="{FF2B5EF4-FFF2-40B4-BE49-F238E27FC236}">
                  <a16:creationId xmlns:a16="http://schemas.microsoft.com/office/drawing/2014/main" id="{6D61221C-796E-4B64-AC9C-DEE66A5AB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8">
              <a:extLst>
                <a:ext uri="{FF2B5EF4-FFF2-40B4-BE49-F238E27FC236}">
                  <a16:creationId xmlns:a16="http://schemas.microsoft.com/office/drawing/2014/main" id="{F2EF33B0-2F47-4357-9C74-6EE710D6D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9">
              <a:extLst>
                <a:ext uri="{FF2B5EF4-FFF2-40B4-BE49-F238E27FC236}">
                  <a16:creationId xmlns:a16="http://schemas.microsoft.com/office/drawing/2014/main" id="{AD1F9514-0CC8-4AF9-A400-72B43AE9A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40">
              <a:extLst>
                <a:ext uri="{FF2B5EF4-FFF2-40B4-BE49-F238E27FC236}">
                  <a16:creationId xmlns:a16="http://schemas.microsoft.com/office/drawing/2014/main" id="{9946A920-52E7-4DF8-B116-971D8AD9E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41">
              <a:extLst>
                <a:ext uri="{FF2B5EF4-FFF2-40B4-BE49-F238E27FC236}">
                  <a16:creationId xmlns:a16="http://schemas.microsoft.com/office/drawing/2014/main" id="{9D00702D-7B9F-4F07-997B-04C6BCE44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42">
              <a:extLst>
                <a:ext uri="{FF2B5EF4-FFF2-40B4-BE49-F238E27FC236}">
                  <a16:creationId xmlns:a16="http://schemas.microsoft.com/office/drawing/2014/main" id="{7A125BBF-89C1-42EA-994D-678FCAEA8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43">
              <a:extLst>
                <a:ext uri="{FF2B5EF4-FFF2-40B4-BE49-F238E27FC236}">
                  <a16:creationId xmlns:a16="http://schemas.microsoft.com/office/drawing/2014/main" id="{BA2748C6-48BA-4851-8444-4CDABA896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44">
              <a:extLst>
                <a:ext uri="{FF2B5EF4-FFF2-40B4-BE49-F238E27FC236}">
                  <a16:creationId xmlns:a16="http://schemas.microsoft.com/office/drawing/2014/main" id="{A21009E4-A4A4-4E3B-9099-0B19864A8E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45">
              <a:extLst>
                <a:ext uri="{FF2B5EF4-FFF2-40B4-BE49-F238E27FC236}">
                  <a16:creationId xmlns:a16="http://schemas.microsoft.com/office/drawing/2014/main" id="{DD497FBE-A16A-4A22-885B-31615127C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6">
              <a:extLst>
                <a:ext uri="{FF2B5EF4-FFF2-40B4-BE49-F238E27FC236}">
                  <a16:creationId xmlns:a16="http://schemas.microsoft.com/office/drawing/2014/main" id="{E842BAC3-E354-4972-B568-69FCB4871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7">
              <a:extLst>
                <a:ext uri="{FF2B5EF4-FFF2-40B4-BE49-F238E27FC236}">
                  <a16:creationId xmlns:a16="http://schemas.microsoft.com/office/drawing/2014/main" id="{3BE582AE-A939-4D6C-8BB9-C98F1645A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8">
              <a:extLst>
                <a:ext uri="{FF2B5EF4-FFF2-40B4-BE49-F238E27FC236}">
                  <a16:creationId xmlns:a16="http://schemas.microsoft.com/office/drawing/2014/main" id="{04FB56D0-E8F0-4721-9AF0-9D3535521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49">
              <a:extLst>
                <a:ext uri="{FF2B5EF4-FFF2-40B4-BE49-F238E27FC236}">
                  <a16:creationId xmlns:a16="http://schemas.microsoft.com/office/drawing/2014/main" id="{87F921AE-DE5F-4580-9487-6A8CBF205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495504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4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图片 71">
            <a:extLst>
              <a:ext uri="{FF2B5EF4-FFF2-40B4-BE49-F238E27FC236}">
                <a16:creationId xmlns:a16="http://schemas.microsoft.com/office/drawing/2014/main" id="{FB165A9C-3156-4168-8BB2-9DB1375399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171" name="标题 1">
            <a:extLst>
              <a:ext uri="{FF2B5EF4-FFF2-40B4-BE49-F238E27FC236}">
                <a16:creationId xmlns:a16="http://schemas.microsoft.com/office/drawing/2014/main" id="{10439045-005D-497E-AEFF-9DF47E236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28355" y="2113836"/>
            <a:ext cx="8839200" cy="1200329"/>
          </a:xfrm>
        </p:spPr>
        <p:txBody>
          <a:bodyPr wrap="square" lIns="0" rIns="0">
            <a:noAutofit/>
          </a:bodyPr>
          <a:lstStyle>
            <a:lvl1pPr>
              <a:lnSpc>
                <a:spcPct val="100000"/>
              </a:lnSpc>
              <a:defRPr lang="en-US" sz="7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</a:defRPr>
            </a:lvl1pPr>
          </a:lstStyle>
          <a:p>
            <a:pPr marL="0" lvl="0" algn="ctr" defTabSz="457200"/>
            <a:endParaRPr lang="en-US" dirty="0"/>
          </a:p>
        </p:txBody>
      </p: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E684D80F-A3CE-41ED-925F-580942B173FA}"/>
              </a:ext>
            </a:extLst>
          </p:cNvPr>
          <p:cNvGrpSpPr/>
          <p:nvPr userDrawn="1"/>
        </p:nvGrpSpPr>
        <p:grpSpPr>
          <a:xfrm>
            <a:off x="1728355" y="3451756"/>
            <a:ext cx="8839200" cy="103909"/>
            <a:chOff x="1676400" y="4353791"/>
            <a:chExt cx="8839200" cy="103909"/>
          </a:xfrm>
        </p:grpSpPr>
        <p:cxnSp>
          <p:nvCxnSpPr>
            <p:cNvPr id="67" name="直接连接符 66">
              <a:extLst>
                <a:ext uri="{FF2B5EF4-FFF2-40B4-BE49-F238E27FC236}">
                  <a16:creationId xmlns:a16="http://schemas.microsoft.com/office/drawing/2014/main" id="{B90F2160-E345-49CB-9394-650A22B3E276}"/>
                </a:ext>
              </a:extLst>
            </p:cNvPr>
            <p:cNvCxnSpPr/>
            <p:nvPr/>
          </p:nvCxnSpPr>
          <p:spPr>
            <a:xfrm>
              <a:off x="1676400" y="4353791"/>
              <a:ext cx="8839200" cy="0"/>
            </a:xfrm>
            <a:prstGeom prst="line">
              <a:avLst/>
            </a:prstGeom>
            <a:ln w="571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直接连接符 67">
              <a:extLst>
                <a:ext uri="{FF2B5EF4-FFF2-40B4-BE49-F238E27FC236}">
                  <a16:creationId xmlns:a16="http://schemas.microsoft.com/office/drawing/2014/main" id="{078BDA72-8D43-4FF3-B06D-15895AD13329}"/>
                </a:ext>
              </a:extLst>
            </p:cNvPr>
            <p:cNvCxnSpPr/>
            <p:nvPr/>
          </p:nvCxnSpPr>
          <p:spPr>
            <a:xfrm>
              <a:off x="1676400" y="4457700"/>
              <a:ext cx="8839200" cy="0"/>
            </a:xfrm>
            <a:prstGeom prst="line">
              <a:avLst/>
            </a:prstGeom>
            <a:ln w="9525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文本占位符 4">
            <a:extLst>
              <a:ext uri="{FF2B5EF4-FFF2-40B4-BE49-F238E27FC236}">
                <a16:creationId xmlns:a16="http://schemas.microsoft.com/office/drawing/2014/main" id="{56944F79-42B5-4E79-A5DB-74BEFEAA90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71008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</a:p>
        </p:txBody>
      </p:sp>
      <p:sp>
        <p:nvSpPr>
          <p:cNvPr id="117" name="文本占位符 4">
            <a:extLst>
              <a:ext uri="{FF2B5EF4-FFF2-40B4-BE49-F238E27FC236}">
                <a16:creationId xmlns:a16="http://schemas.microsoft.com/office/drawing/2014/main" id="{D76B6D23-065E-49CC-8F94-BABFC6008C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4083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59E7CDB0-31AD-4998-BD5D-4BD5F347704A}"/>
              </a:ext>
            </a:extLst>
          </p:cNvPr>
          <p:cNvGrpSpPr/>
          <p:nvPr userDrawn="1"/>
        </p:nvGrpSpPr>
        <p:grpSpPr>
          <a:xfrm>
            <a:off x="5478669" y="446123"/>
            <a:ext cx="1234662" cy="419641"/>
            <a:chOff x="1398368" y="5051425"/>
            <a:chExt cx="3242941" cy="1102222"/>
          </a:xfrm>
          <a:solidFill>
            <a:schemeClr val="bg1"/>
          </a:solidFill>
        </p:grpSpPr>
        <p:sp>
          <p:nvSpPr>
            <p:cNvPr id="58" name="Freeform 5">
              <a:extLst>
                <a:ext uri="{FF2B5EF4-FFF2-40B4-BE49-F238E27FC236}">
                  <a16:creationId xmlns:a16="http://schemas.microsoft.com/office/drawing/2014/main" id="{439049B5-3511-4B79-9291-1582995139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7">
              <a:extLst>
                <a:ext uri="{FF2B5EF4-FFF2-40B4-BE49-F238E27FC236}">
                  <a16:creationId xmlns:a16="http://schemas.microsoft.com/office/drawing/2014/main" id="{CFA1AAD6-FA48-4EF6-A741-32C1DAFF3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93D1CF40-EC2F-47C7-9E4C-BC71F58D0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2" name="组合 61">
              <a:extLst>
                <a:ext uri="{FF2B5EF4-FFF2-40B4-BE49-F238E27FC236}">
                  <a16:creationId xmlns:a16="http://schemas.microsoft.com/office/drawing/2014/main" id="{B8F705B3-5724-47E6-8A0A-EF15964B8F7E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  <a:grpFill/>
          </p:grpSpPr>
          <p:sp>
            <p:nvSpPr>
              <p:cNvPr id="155" name="Freeform 6">
                <a:extLst>
                  <a:ext uri="{FF2B5EF4-FFF2-40B4-BE49-F238E27FC236}">
                    <a16:creationId xmlns:a16="http://schemas.microsoft.com/office/drawing/2014/main" id="{B09E83B7-3FD6-4926-A0FF-740001A8EA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0">
                <a:extLst>
                  <a:ext uri="{FF2B5EF4-FFF2-40B4-BE49-F238E27FC236}">
                    <a16:creationId xmlns:a16="http://schemas.microsoft.com/office/drawing/2014/main" id="{A19C4D02-3DD4-4284-8FA2-18504F99B7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3">
                <a:extLst>
                  <a:ext uri="{FF2B5EF4-FFF2-40B4-BE49-F238E27FC236}">
                    <a16:creationId xmlns:a16="http://schemas.microsoft.com/office/drawing/2014/main" id="{933BDA9B-C71F-4875-858C-F421328AA1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3" name="组合 62">
              <a:extLst>
                <a:ext uri="{FF2B5EF4-FFF2-40B4-BE49-F238E27FC236}">
                  <a16:creationId xmlns:a16="http://schemas.microsoft.com/office/drawing/2014/main" id="{A865DE86-209D-4D5A-8D99-7FFF17946E1A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  <a:grpFill/>
          </p:grpSpPr>
          <p:sp>
            <p:nvSpPr>
              <p:cNvPr id="150" name="Freeform 9">
                <a:extLst>
                  <a:ext uri="{FF2B5EF4-FFF2-40B4-BE49-F238E27FC236}">
                    <a16:creationId xmlns:a16="http://schemas.microsoft.com/office/drawing/2014/main" id="{79C25719-1D31-4BA1-9799-418BF16037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1">
                <a:extLst>
                  <a:ext uri="{FF2B5EF4-FFF2-40B4-BE49-F238E27FC236}">
                    <a16:creationId xmlns:a16="http://schemas.microsoft.com/office/drawing/2014/main" id="{1B85BC88-85F7-4115-BAFC-1A25909A3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2">
                <a:extLst>
                  <a:ext uri="{FF2B5EF4-FFF2-40B4-BE49-F238E27FC236}">
                    <a16:creationId xmlns:a16="http://schemas.microsoft.com/office/drawing/2014/main" id="{B13A5777-A6A2-4142-A404-DD30B496A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4">
                <a:extLst>
                  <a:ext uri="{FF2B5EF4-FFF2-40B4-BE49-F238E27FC236}">
                    <a16:creationId xmlns:a16="http://schemas.microsoft.com/office/drawing/2014/main" id="{61B2B235-9EC2-43FE-BBA5-7A7440279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5">
                <a:extLst>
                  <a:ext uri="{FF2B5EF4-FFF2-40B4-BE49-F238E27FC236}">
                    <a16:creationId xmlns:a16="http://schemas.microsoft.com/office/drawing/2014/main" id="{DA6D2405-18A9-4CE8-9C26-7B982A0CC5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7A3D84FA-03C5-465E-BDDB-922414EBD6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id="{9D037C15-16A3-4E76-8B70-A77CAFB6F0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18">
              <a:extLst>
                <a:ext uri="{FF2B5EF4-FFF2-40B4-BE49-F238E27FC236}">
                  <a16:creationId xmlns:a16="http://schemas.microsoft.com/office/drawing/2014/main" id="{F31711E3-AAEE-45E2-A94E-14ECC57D9D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9">
              <a:extLst>
                <a:ext uri="{FF2B5EF4-FFF2-40B4-BE49-F238E27FC236}">
                  <a16:creationId xmlns:a16="http://schemas.microsoft.com/office/drawing/2014/main" id="{2E4BFA2E-680D-46C7-8BDF-DF62427A4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20">
              <a:extLst>
                <a:ext uri="{FF2B5EF4-FFF2-40B4-BE49-F238E27FC236}">
                  <a16:creationId xmlns:a16="http://schemas.microsoft.com/office/drawing/2014/main" id="{0CD549C0-D41D-40ED-9735-CD68B05E5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1">
              <a:extLst>
                <a:ext uri="{FF2B5EF4-FFF2-40B4-BE49-F238E27FC236}">
                  <a16:creationId xmlns:a16="http://schemas.microsoft.com/office/drawing/2014/main" id="{3F3E13A1-5962-4384-A27E-8646C95D1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2">
              <a:extLst>
                <a:ext uri="{FF2B5EF4-FFF2-40B4-BE49-F238E27FC236}">
                  <a16:creationId xmlns:a16="http://schemas.microsoft.com/office/drawing/2014/main" id="{5753220B-B6F0-4874-A427-F30CA07A29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F0CCC601-165F-40B5-84C6-834890924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4">
              <a:extLst>
                <a:ext uri="{FF2B5EF4-FFF2-40B4-BE49-F238E27FC236}">
                  <a16:creationId xmlns:a16="http://schemas.microsoft.com/office/drawing/2014/main" id="{D872C481-DBDF-47FD-8BBA-011AF5C67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5">
              <a:extLst>
                <a:ext uri="{FF2B5EF4-FFF2-40B4-BE49-F238E27FC236}">
                  <a16:creationId xmlns:a16="http://schemas.microsoft.com/office/drawing/2014/main" id="{653C524E-0561-4FD5-87C1-0E911B457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6">
              <a:extLst>
                <a:ext uri="{FF2B5EF4-FFF2-40B4-BE49-F238E27FC236}">
                  <a16:creationId xmlns:a16="http://schemas.microsoft.com/office/drawing/2014/main" id="{9A094E36-5834-4B4E-8F19-EEA9EC9175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7">
              <a:extLst>
                <a:ext uri="{FF2B5EF4-FFF2-40B4-BE49-F238E27FC236}">
                  <a16:creationId xmlns:a16="http://schemas.microsoft.com/office/drawing/2014/main" id="{74595C4C-D3FD-43C9-AFB3-C518E69D6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8">
              <a:extLst>
                <a:ext uri="{FF2B5EF4-FFF2-40B4-BE49-F238E27FC236}">
                  <a16:creationId xmlns:a16="http://schemas.microsoft.com/office/drawing/2014/main" id="{2E001D32-3768-492F-983D-DC21BD1D4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BE5C9797-CFE8-48D0-AFAA-16935C76F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22F08195-6B8C-407E-A3EB-160DC7D20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B04BB8DE-45DD-476A-AE35-EDE98F922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C015FB5E-A52A-4B90-ACB5-03C83B2DD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3">
              <a:extLst>
                <a:ext uri="{FF2B5EF4-FFF2-40B4-BE49-F238E27FC236}">
                  <a16:creationId xmlns:a16="http://schemas.microsoft.com/office/drawing/2014/main" id="{A1FC1145-8606-4E35-9DA0-1A8F1AB1C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4">
              <a:extLst>
                <a:ext uri="{FF2B5EF4-FFF2-40B4-BE49-F238E27FC236}">
                  <a16:creationId xmlns:a16="http://schemas.microsoft.com/office/drawing/2014/main" id="{74327716-B9AB-4C62-BE93-84EA83132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5">
              <a:extLst>
                <a:ext uri="{FF2B5EF4-FFF2-40B4-BE49-F238E27FC236}">
                  <a16:creationId xmlns:a16="http://schemas.microsoft.com/office/drawing/2014/main" id="{50B2BD67-B41F-4D16-AF2E-BACB13338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6">
              <a:extLst>
                <a:ext uri="{FF2B5EF4-FFF2-40B4-BE49-F238E27FC236}">
                  <a16:creationId xmlns:a16="http://schemas.microsoft.com/office/drawing/2014/main" id="{319FABAD-CF10-4B8A-BB85-6D8E07E9C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7">
              <a:extLst>
                <a:ext uri="{FF2B5EF4-FFF2-40B4-BE49-F238E27FC236}">
                  <a16:creationId xmlns:a16="http://schemas.microsoft.com/office/drawing/2014/main" id="{86D3AF3A-E6A4-4759-AB79-337513DC6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8">
              <a:extLst>
                <a:ext uri="{FF2B5EF4-FFF2-40B4-BE49-F238E27FC236}">
                  <a16:creationId xmlns:a16="http://schemas.microsoft.com/office/drawing/2014/main" id="{FDB22518-8317-44EA-AD55-C08E75A35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9">
              <a:extLst>
                <a:ext uri="{FF2B5EF4-FFF2-40B4-BE49-F238E27FC236}">
                  <a16:creationId xmlns:a16="http://schemas.microsoft.com/office/drawing/2014/main" id="{8CF1859E-2119-4B47-8A3D-BC6D41F06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40">
              <a:extLst>
                <a:ext uri="{FF2B5EF4-FFF2-40B4-BE49-F238E27FC236}">
                  <a16:creationId xmlns:a16="http://schemas.microsoft.com/office/drawing/2014/main" id="{EC17AD47-33F4-4325-9810-AD3395D6D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41">
              <a:extLst>
                <a:ext uri="{FF2B5EF4-FFF2-40B4-BE49-F238E27FC236}">
                  <a16:creationId xmlns:a16="http://schemas.microsoft.com/office/drawing/2014/main" id="{9B477136-DF2C-4405-8B1B-AB10433DD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42">
              <a:extLst>
                <a:ext uri="{FF2B5EF4-FFF2-40B4-BE49-F238E27FC236}">
                  <a16:creationId xmlns:a16="http://schemas.microsoft.com/office/drawing/2014/main" id="{75EBA9EA-19ED-445D-90E4-8455D02D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43">
              <a:extLst>
                <a:ext uri="{FF2B5EF4-FFF2-40B4-BE49-F238E27FC236}">
                  <a16:creationId xmlns:a16="http://schemas.microsoft.com/office/drawing/2014/main" id="{743CCEC2-95D9-4CB8-B82C-F3861F582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44">
              <a:extLst>
                <a:ext uri="{FF2B5EF4-FFF2-40B4-BE49-F238E27FC236}">
                  <a16:creationId xmlns:a16="http://schemas.microsoft.com/office/drawing/2014/main" id="{759C834D-0521-45CA-8F0B-6DD200AA30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45">
              <a:extLst>
                <a:ext uri="{FF2B5EF4-FFF2-40B4-BE49-F238E27FC236}">
                  <a16:creationId xmlns:a16="http://schemas.microsoft.com/office/drawing/2014/main" id="{D8C1FD23-C756-4A1D-91B8-FDAF7BA84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46">
              <a:extLst>
                <a:ext uri="{FF2B5EF4-FFF2-40B4-BE49-F238E27FC236}">
                  <a16:creationId xmlns:a16="http://schemas.microsoft.com/office/drawing/2014/main" id="{E7AACED7-81C5-4930-B855-3D3EFDB11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47">
              <a:extLst>
                <a:ext uri="{FF2B5EF4-FFF2-40B4-BE49-F238E27FC236}">
                  <a16:creationId xmlns:a16="http://schemas.microsoft.com/office/drawing/2014/main" id="{95BF82FA-5963-4063-B172-F332D479A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48">
              <a:extLst>
                <a:ext uri="{FF2B5EF4-FFF2-40B4-BE49-F238E27FC236}">
                  <a16:creationId xmlns:a16="http://schemas.microsoft.com/office/drawing/2014/main" id="{9FF05089-8AEE-4CC3-8158-707056AA7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49">
              <a:extLst>
                <a:ext uri="{FF2B5EF4-FFF2-40B4-BE49-F238E27FC236}">
                  <a16:creationId xmlns:a16="http://schemas.microsoft.com/office/drawing/2014/main" id="{D973C5D5-1E14-43C4-B911-1C8E3BFF5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21032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093669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图片占位符 6">
            <a:extLst>
              <a:ext uri="{FF2B5EF4-FFF2-40B4-BE49-F238E27FC236}">
                <a16:creationId xmlns:a16="http://schemas.microsoft.com/office/drawing/2014/main" id="{5EB9489E-354F-4F71-9B87-6AC7B89CA46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8811" y="1196974"/>
            <a:ext cx="7182469" cy="492686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1141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3" name="图片占位符 112">
            <a:extLst>
              <a:ext uri="{FF2B5EF4-FFF2-40B4-BE49-F238E27FC236}">
                <a16:creationId xmlns:a16="http://schemas.microsoft.com/office/drawing/2014/main" id="{7271F348-4736-42D1-B9AC-E4986E55D3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5938" y="1196975"/>
            <a:ext cx="6107810" cy="5041779"/>
          </a:xfrm>
          <a:custGeom>
            <a:avLst/>
            <a:gdLst>
              <a:gd name="connsiteX0" fmla="*/ 5336222 w 6107810"/>
              <a:gd name="connsiteY0" fmla="*/ 5039816 h 5041779"/>
              <a:gd name="connsiteX1" fmla="*/ 5336222 w 6107810"/>
              <a:gd name="connsiteY1" fmla="*/ 5041779 h 5041779"/>
              <a:gd name="connsiteX2" fmla="*/ 3707617 w 6107810"/>
              <a:gd name="connsiteY2" fmla="*/ 5041779 h 5041779"/>
              <a:gd name="connsiteX3" fmla="*/ 0 w 6107810"/>
              <a:gd name="connsiteY3" fmla="*/ 0 h 5041779"/>
              <a:gd name="connsiteX4" fmla="*/ 4785360 w 6107810"/>
              <a:gd name="connsiteY4" fmla="*/ 0 h 5041779"/>
              <a:gd name="connsiteX5" fmla="*/ 4788433 w 6107810"/>
              <a:gd name="connsiteY5" fmla="*/ 28395 h 5041779"/>
              <a:gd name="connsiteX6" fmla="*/ 4741665 w 6107810"/>
              <a:gd name="connsiteY6" fmla="*/ 75141 h 5041779"/>
              <a:gd name="connsiteX7" fmla="*/ 4383076 w 6107810"/>
              <a:gd name="connsiteY7" fmla="*/ 433565 h 5041779"/>
              <a:gd name="connsiteX8" fmla="*/ 4398870 w 6107810"/>
              <a:gd name="connsiteY8" fmla="*/ 433565 h 5041779"/>
              <a:gd name="connsiteX9" fmla="*/ 4398868 w 6107810"/>
              <a:gd name="connsiteY9" fmla="*/ 433566 h 5041779"/>
              <a:gd name="connsiteX10" fmla="*/ 4644798 w 6107810"/>
              <a:gd name="connsiteY10" fmla="*/ 433566 h 5041779"/>
              <a:gd name="connsiteX11" fmla="*/ 4664139 w 6107810"/>
              <a:gd name="connsiteY11" fmla="*/ 433566 h 5041779"/>
              <a:gd name="connsiteX12" fmla="*/ 4663218 w 6107810"/>
              <a:gd name="connsiteY12" fmla="*/ 446025 h 5041779"/>
              <a:gd name="connsiteX13" fmla="*/ 4972402 w 6107810"/>
              <a:gd name="connsiteY13" fmla="*/ 1919793 h 5041779"/>
              <a:gd name="connsiteX14" fmla="*/ 6105722 w 6107810"/>
              <a:gd name="connsiteY14" fmla="*/ 3147744 h 5041779"/>
              <a:gd name="connsiteX15" fmla="*/ 3707617 w 6107810"/>
              <a:gd name="connsiteY15" fmla="*/ 5041779 h 5041779"/>
              <a:gd name="connsiteX16" fmla="*/ 0 w 6107810"/>
              <a:gd name="connsiteY16" fmla="*/ 5041779 h 5041779"/>
              <a:gd name="connsiteX17" fmla="*/ 0 w 6107810"/>
              <a:gd name="connsiteY17" fmla="*/ 4932363 h 5041779"/>
              <a:gd name="connsiteX18" fmla="*/ 0 w 6107810"/>
              <a:gd name="connsiteY18" fmla="*/ 4716659 h 5041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107810" h="5041779">
                <a:moveTo>
                  <a:pt x="5336222" y="5039816"/>
                </a:moveTo>
                <a:lnTo>
                  <a:pt x="5336222" y="5041779"/>
                </a:lnTo>
                <a:lnTo>
                  <a:pt x="3707617" y="5041779"/>
                </a:lnTo>
                <a:close/>
                <a:moveTo>
                  <a:pt x="0" y="0"/>
                </a:moveTo>
                <a:lnTo>
                  <a:pt x="4785360" y="0"/>
                </a:lnTo>
                <a:lnTo>
                  <a:pt x="4788433" y="28395"/>
                </a:lnTo>
                <a:lnTo>
                  <a:pt x="4741665" y="75141"/>
                </a:lnTo>
                <a:cubicBezTo>
                  <a:pt x="4383076" y="433565"/>
                  <a:pt x="4383076" y="433565"/>
                  <a:pt x="4383076" y="433565"/>
                </a:cubicBezTo>
                <a:lnTo>
                  <a:pt x="4398870" y="433565"/>
                </a:lnTo>
                <a:lnTo>
                  <a:pt x="4398868" y="433566"/>
                </a:lnTo>
                <a:cubicBezTo>
                  <a:pt x="4539400" y="433566"/>
                  <a:pt x="4609665" y="433566"/>
                  <a:pt x="4644798" y="433566"/>
                </a:cubicBezTo>
                <a:lnTo>
                  <a:pt x="4664139" y="433566"/>
                </a:lnTo>
                <a:lnTo>
                  <a:pt x="4663218" y="446025"/>
                </a:lnTo>
                <a:cubicBezTo>
                  <a:pt x="4654719" y="568403"/>
                  <a:pt x="4598407" y="1558715"/>
                  <a:pt x="4972402" y="1919793"/>
                </a:cubicBezTo>
                <a:cubicBezTo>
                  <a:pt x="5371331" y="2304944"/>
                  <a:pt x="6055856" y="2531503"/>
                  <a:pt x="6105722" y="3147744"/>
                </a:cubicBezTo>
                <a:cubicBezTo>
                  <a:pt x="6146521" y="3736798"/>
                  <a:pt x="5597995" y="4289603"/>
                  <a:pt x="3707617" y="5041779"/>
                </a:cubicBezTo>
                <a:lnTo>
                  <a:pt x="0" y="5041779"/>
                </a:lnTo>
                <a:lnTo>
                  <a:pt x="0" y="4932363"/>
                </a:lnTo>
                <a:lnTo>
                  <a:pt x="0" y="471665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14" name="Group 63">
            <a:extLst>
              <a:ext uri="{FF2B5EF4-FFF2-40B4-BE49-F238E27FC236}">
                <a16:creationId xmlns:a16="http://schemas.microsoft.com/office/drawing/2014/main" id="{234A340D-CB29-4C2E-A35B-6B23EC5B6F19}"/>
              </a:ext>
            </a:extLst>
          </p:cNvPr>
          <p:cNvGrpSpPr/>
          <p:nvPr userDrawn="1"/>
        </p:nvGrpSpPr>
        <p:grpSpPr>
          <a:xfrm>
            <a:off x="4589315" y="1195546"/>
            <a:ext cx="5063673" cy="5043208"/>
            <a:chOff x="4199068" y="646963"/>
            <a:chExt cx="6351005" cy="6325337"/>
          </a:xfrm>
        </p:grpSpPr>
        <p:sp>
          <p:nvSpPr>
            <p:cNvPr id="115" name="Oval 11">
              <a:extLst>
                <a:ext uri="{FF2B5EF4-FFF2-40B4-BE49-F238E27FC236}">
                  <a16:creationId xmlns:a16="http://schemas.microsoft.com/office/drawing/2014/main" id="{49F29ADA-80A2-46CB-B882-BD0364B660BC}"/>
                </a:ext>
              </a:extLst>
            </p:cNvPr>
            <p:cNvSpPr/>
            <p:nvPr/>
          </p:nvSpPr>
          <p:spPr>
            <a:xfrm rot="1582756">
              <a:off x="4703499" y="2695709"/>
              <a:ext cx="2905739" cy="559769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19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Freeform 5">
              <a:extLst>
                <a:ext uri="{FF2B5EF4-FFF2-40B4-BE49-F238E27FC236}">
                  <a16:creationId xmlns:a16="http://schemas.microsoft.com/office/drawing/2014/main" id="{9F392F43-BDF1-4580-BBCA-2B40C03F2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9068" y="646963"/>
              <a:ext cx="6351005" cy="6325337"/>
            </a:xfrm>
            <a:custGeom>
              <a:avLst/>
              <a:gdLst>
                <a:gd name="T0" fmla="*/ 829 w 1117"/>
                <a:gd name="T1" fmla="*/ 1112 h 1113"/>
                <a:gd name="T2" fmla="*/ 819 w 1117"/>
                <a:gd name="T3" fmla="*/ 565 h 1113"/>
                <a:gd name="T4" fmla="*/ 283 w 1117"/>
                <a:gd name="T5" fmla="*/ 93 h 1113"/>
                <a:gd name="T6" fmla="*/ 343 w 1117"/>
                <a:gd name="T7" fmla="*/ 93 h 1113"/>
                <a:gd name="T8" fmla="*/ 245 w 1117"/>
                <a:gd name="T9" fmla="*/ 0 h 1113"/>
                <a:gd name="T10" fmla="*/ 149 w 1117"/>
                <a:gd name="T11" fmla="*/ 96 h 1113"/>
                <a:gd name="T12" fmla="*/ 211 w 1117"/>
                <a:gd name="T13" fmla="*/ 96 h 1113"/>
                <a:gd name="T14" fmla="*/ 279 w 1117"/>
                <a:gd name="T15" fmla="*/ 424 h 1113"/>
                <a:gd name="T16" fmla="*/ 529 w 1117"/>
                <a:gd name="T17" fmla="*/ 695 h 1113"/>
                <a:gd name="T18" fmla="*/ 0 w 1117"/>
                <a:gd name="T19" fmla="*/ 1113 h 1113"/>
                <a:gd name="T20" fmla="*/ 829 w 1117"/>
                <a:gd name="T21" fmla="*/ 1112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17" h="1113">
                  <a:moveTo>
                    <a:pt x="829" y="1112"/>
                  </a:moveTo>
                  <a:cubicBezTo>
                    <a:pt x="829" y="1112"/>
                    <a:pt x="1117" y="775"/>
                    <a:pt x="819" y="565"/>
                  </a:cubicBezTo>
                  <a:cubicBezTo>
                    <a:pt x="521" y="355"/>
                    <a:pt x="289" y="468"/>
                    <a:pt x="283" y="93"/>
                  </a:cubicBezTo>
                  <a:cubicBezTo>
                    <a:pt x="343" y="93"/>
                    <a:pt x="343" y="93"/>
                    <a:pt x="343" y="93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1" y="96"/>
                    <a:pt x="191" y="339"/>
                    <a:pt x="279" y="424"/>
                  </a:cubicBezTo>
                  <a:cubicBezTo>
                    <a:pt x="367" y="509"/>
                    <a:pt x="518" y="559"/>
                    <a:pt x="529" y="695"/>
                  </a:cubicBezTo>
                  <a:cubicBezTo>
                    <a:pt x="538" y="825"/>
                    <a:pt x="417" y="947"/>
                    <a:pt x="0" y="1113"/>
                  </a:cubicBezTo>
                  <a:lnTo>
                    <a:pt x="829" y="11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6">
              <a:extLst>
                <a:ext uri="{FF2B5EF4-FFF2-40B4-BE49-F238E27FC236}">
                  <a16:creationId xmlns:a16="http://schemas.microsoft.com/office/drawing/2014/main" id="{6593BD77-3FED-4748-8F58-79FFA4B65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8644" y="1162107"/>
              <a:ext cx="3147779" cy="5797493"/>
            </a:xfrm>
            <a:custGeom>
              <a:avLst/>
              <a:gdLst>
                <a:gd name="T0" fmla="*/ 274 w 555"/>
                <a:gd name="T1" fmla="*/ 1022 h 1022"/>
                <a:gd name="T2" fmla="*/ 518 w 555"/>
                <a:gd name="T3" fmla="*/ 628 h 1022"/>
                <a:gd name="T4" fmla="*/ 38 w 555"/>
                <a:gd name="T5" fmla="*/ 0 h 1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55" h="1022">
                  <a:moveTo>
                    <a:pt x="274" y="1022"/>
                  </a:moveTo>
                  <a:cubicBezTo>
                    <a:pt x="274" y="1022"/>
                    <a:pt x="555" y="831"/>
                    <a:pt x="518" y="628"/>
                  </a:cubicBezTo>
                  <a:cubicBezTo>
                    <a:pt x="477" y="411"/>
                    <a:pt x="0" y="394"/>
                    <a:pt x="38" y="0"/>
                  </a:cubicBezTo>
                </a:path>
              </a:pathLst>
            </a:custGeom>
            <a:noFill/>
            <a:ln w="31750" cap="flat">
              <a:solidFill>
                <a:schemeClr val="bg1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712023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D401022F-207B-42C3-8907-8D15A9ADB27D}"/>
              </a:ext>
            </a:extLst>
          </p:cNvPr>
          <p:cNvGrpSpPr/>
          <p:nvPr userDrawn="1"/>
        </p:nvGrpSpPr>
        <p:grpSpPr>
          <a:xfrm>
            <a:off x="0" y="1220125"/>
            <a:ext cx="6094645" cy="5047254"/>
            <a:chOff x="0" y="1220125"/>
            <a:chExt cx="6094645" cy="5047254"/>
          </a:xfrm>
        </p:grpSpPr>
        <p:grpSp>
          <p:nvGrpSpPr>
            <p:cNvPr id="113" name="组合 112">
              <a:extLst>
                <a:ext uri="{FF2B5EF4-FFF2-40B4-BE49-F238E27FC236}">
                  <a16:creationId xmlns:a16="http://schemas.microsoft.com/office/drawing/2014/main" id="{80938A22-F360-4368-9742-CFA01E47E72A}"/>
                </a:ext>
              </a:extLst>
            </p:cNvPr>
            <p:cNvGrpSpPr/>
            <p:nvPr userDrawn="1"/>
          </p:nvGrpSpPr>
          <p:grpSpPr>
            <a:xfrm>
              <a:off x="0" y="1220125"/>
              <a:ext cx="6094645" cy="5047254"/>
              <a:chOff x="0" y="1220125"/>
              <a:chExt cx="6094645" cy="5047254"/>
            </a:xfrm>
          </p:grpSpPr>
          <p:sp>
            <p:nvSpPr>
              <p:cNvPr id="119" name="Freeform 8">
                <a:extLst>
                  <a:ext uri="{FF2B5EF4-FFF2-40B4-BE49-F238E27FC236}">
                    <a16:creationId xmlns:a16="http://schemas.microsoft.com/office/drawing/2014/main" id="{812CB100-BA4C-47CC-8AA1-369D1E1411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55147" y="1461205"/>
                <a:ext cx="291676" cy="315674"/>
              </a:xfrm>
              <a:custGeom>
                <a:avLst/>
                <a:gdLst>
                  <a:gd name="T0" fmla="*/ 180 w 2662"/>
                  <a:gd name="T1" fmla="*/ 0 h 2879"/>
                  <a:gd name="T2" fmla="*/ 0 w 2662"/>
                  <a:gd name="T3" fmla="*/ 155 h 2879"/>
                  <a:gd name="T4" fmla="*/ 0 w 2662"/>
                  <a:gd name="T5" fmla="*/ 2723 h 2879"/>
                  <a:gd name="T6" fmla="*/ 177 w 2662"/>
                  <a:gd name="T7" fmla="*/ 2879 h 2879"/>
                  <a:gd name="T8" fmla="*/ 357 w 2662"/>
                  <a:gd name="T9" fmla="*/ 2723 h 2879"/>
                  <a:gd name="T10" fmla="*/ 357 w 2662"/>
                  <a:gd name="T11" fmla="*/ 155 h 2879"/>
                  <a:gd name="T12" fmla="*/ 180 w 2662"/>
                  <a:gd name="T13" fmla="*/ 0 h 2879"/>
                  <a:gd name="T14" fmla="*/ 2028 w 2662"/>
                  <a:gd name="T15" fmla="*/ 213 h 2879"/>
                  <a:gd name="T16" fmla="*/ 1018 w 2662"/>
                  <a:gd name="T17" fmla="*/ 6 h 2879"/>
                  <a:gd name="T18" fmla="*/ 501 w 2662"/>
                  <a:gd name="T19" fmla="*/ 142 h 2879"/>
                  <a:gd name="T20" fmla="*/ 499 w 2662"/>
                  <a:gd name="T21" fmla="*/ 1692 h 2879"/>
                  <a:gd name="T22" fmla="*/ 1018 w 2662"/>
                  <a:gd name="T23" fmla="*/ 1556 h 2879"/>
                  <a:gd name="T24" fmla="*/ 2028 w 2662"/>
                  <a:gd name="T25" fmla="*/ 1763 h 2879"/>
                  <a:gd name="T26" fmla="*/ 2662 w 2662"/>
                  <a:gd name="T27" fmla="*/ 1598 h 2879"/>
                  <a:gd name="T28" fmla="*/ 2662 w 2662"/>
                  <a:gd name="T29" fmla="*/ 48 h 2879"/>
                  <a:gd name="T30" fmla="*/ 2028 w 2662"/>
                  <a:gd name="T31" fmla="*/ 213 h 2879"/>
                  <a:gd name="T32" fmla="*/ 2028 w 2662"/>
                  <a:gd name="T33" fmla="*/ 213 h 2879"/>
                  <a:gd name="T34" fmla="*/ 2028 w 2662"/>
                  <a:gd name="T35" fmla="*/ 213 h 2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662" h="2879">
                    <a:moveTo>
                      <a:pt x="180" y="0"/>
                    </a:moveTo>
                    <a:cubicBezTo>
                      <a:pt x="94" y="0"/>
                      <a:pt x="0" y="69"/>
                      <a:pt x="0" y="155"/>
                    </a:cubicBezTo>
                    <a:cubicBezTo>
                      <a:pt x="0" y="2723"/>
                      <a:pt x="0" y="2723"/>
                      <a:pt x="0" y="2723"/>
                    </a:cubicBezTo>
                    <a:cubicBezTo>
                      <a:pt x="0" y="2809"/>
                      <a:pt x="92" y="2879"/>
                      <a:pt x="177" y="2879"/>
                    </a:cubicBezTo>
                    <a:cubicBezTo>
                      <a:pt x="263" y="2879"/>
                      <a:pt x="357" y="2809"/>
                      <a:pt x="357" y="2723"/>
                    </a:cubicBezTo>
                    <a:cubicBezTo>
                      <a:pt x="357" y="155"/>
                      <a:pt x="357" y="155"/>
                      <a:pt x="357" y="155"/>
                    </a:cubicBezTo>
                    <a:cubicBezTo>
                      <a:pt x="357" y="69"/>
                      <a:pt x="265" y="0"/>
                      <a:pt x="180" y="0"/>
                    </a:cubicBezTo>
                    <a:close/>
                    <a:moveTo>
                      <a:pt x="2028" y="213"/>
                    </a:moveTo>
                    <a:cubicBezTo>
                      <a:pt x="1523" y="213"/>
                      <a:pt x="1523" y="6"/>
                      <a:pt x="1018" y="6"/>
                    </a:cubicBezTo>
                    <a:cubicBezTo>
                      <a:pt x="727" y="6"/>
                      <a:pt x="501" y="142"/>
                      <a:pt x="501" y="142"/>
                    </a:cubicBezTo>
                    <a:cubicBezTo>
                      <a:pt x="499" y="1692"/>
                      <a:pt x="499" y="1692"/>
                      <a:pt x="499" y="1692"/>
                    </a:cubicBezTo>
                    <a:cubicBezTo>
                      <a:pt x="499" y="1692"/>
                      <a:pt x="727" y="1556"/>
                      <a:pt x="1018" y="1556"/>
                    </a:cubicBezTo>
                    <a:cubicBezTo>
                      <a:pt x="1523" y="1556"/>
                      <a:pt x="1523" y="1763"/>
                      <a:pt x="2028" y="1763"/>
                    </a:cubicBezTo>
                    <a:cubicBezTo>
                      <a:pt x="2344" y="1763"/>
                      <a:pt x="2662" y="1598"/>
                      <a:pt x="2662" y="1598"/>
                    </a:cubicBezTo>
                    <a:cubicBezTo>
                      <a:pt x="2662" y="48"/>
                      <a:pt x="2662" y="48"/>
                      <a:pt x="2662" y="48"/>
                    </a:cubicBezTo>
                    <a:cubicBezTo>
                      <a:pt x="2662" y="48"/>
                      <a:pt x="2344" y="213"/>
                      <a:pt x="2028" y="213"/>
                    </a:cubicBezTo>
                    <a:close/>
                    <a:moveTo>
                      <a:pt x="2028" y="213"/>
                    </a:moveTo>
                    <a:cubicBezTo>
                      <a:pt x="2028" y="213"/>
                      <a:pt x="2028" y="213"/>
                      <a:pt x="2028" y="213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277B10A6-B723-4E47-8EDE-9FE770B6DBFF}"/>
                  </a:ext>
                </a:extLst>
              </p:cNvPr>
              <p:cNvSpPr/>
              <p:nvPr/>
            </p:nvSpPr>
            <p:spPr>
              <a:xfrm>
                <a:off x="0" y="3346172"/>
                <a:ext cx="1819933" cy="2896402"/>
              </a:xfrm>
              <a:custGeom>
                <a:avLst/>
                <a:gdLst>
                  <a:gd name="connsiteX0" fmla="*/ 575078 w 1819933"/>
                  <a:gd name="connsiteY0" fmla="*/ 0 h 2896402"/>
                  <a:gd name="connsiteX1" fmla="*/ 1053093 w 1819933"/>
                  <a:gd name="connsiteY1" fmla="*/ 256646 h 2896402"/>
                  <a:gd name="connsiteX2" fmla="*/ 1309030 w 1819933"/>
                  <a:gd name="connsiteY2" fmla="*/ 168522 h 2896402"/>
                  <a:gd name="connsiteX3" fmla="*/ 1819933 w 1819933"/>
                  <a:gd name="connsiteY3" fmla="*/ 568631 h 2896402"/>
                  <a:gd name="connsiteX4" fmla="*/ 1612659 w 1819933"/>
                  <a:gd name="connsiteY4" fmla="*/ 2896402 h 2896402"/>
                  <a:gd name="connsiteX5" fmla="*/ 0 w 1819933"/>
                  <a:gd name="connsiteY5" fmla="*/ 2841632 h 2896402"/>
                  <a:gd name="connsiteX6" fmla="*/ 0 w 1819933"/>
                  <a:gd name="connsiteY6" fmla="*/ 152872 h 2896402"/>
                  <a:gd name="connsiteX7" fmla="*/ 183103 w 1819933"/>
                  <a:gd name="connsiteY7" fmla="*/ 257899 h 2896402"/>
                  <a:gd name="connsiteX8" fmla="*/ 217689 w 1819933"/>
                  <a:gd name="connsiteY8" fmla="*/ 188465 h 2896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19933" h="2896402">
                    <a:moveTo>
                      <a:pt x="575078" y="0"/>
                    </a:moveTo>
                    <a:cubicBezTo>
                      <a:pt x="754804" y="93066"/>
                      <a:pt x="873368" y="163580"/>
                      <a:pt x="1053093" y="256646"/>
                    </a:cubicBezTo>
                    <a:lnTo>
                      <a:pt x="1309030" y="168522"/>
                    </a:lnTo>
                    <a:lnTo>
                      <a:pt x="1819933" y="568631"/>
                    </a:lnTo>
                    <a:lnTo>
                      <a:pt x="1612659" y="2896402"/>
                    </a:lnTo>
                    <a:lnTo>
                      <a:pt x="0" y="2841632"/>
                    </a:lnTo>
                    <a:lnTo>
                      <a:pt x="0" y="152872"/>
                    </a:lnTo>
                    <a:lnTo>
                      <a:pt x="183103" y="257899"/>
                    </a:lnTo>
                    <a:lnTo>
                      <a:pt x="217689" y="188465"/>
                    </a:lnTo>
                    <a:close/>
                  </a:path>
                </a:pathLst>
              </a:custGeom>
              <a:solidFill>
                <a:srgbClr val="9A9A9A">
                  <a:alpha val="16000"/>
                </a:srgbClr>
              </a:solidFill>
              <a:ln>
                <a:noFill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99">
                <a:extLst>
                  <a:ext uri="{FF2B5EF4-FFF2-40B4-BE49-F238E27FC236}">
                    <a16:creationId xmlns:a16="http://schemas.microsoft.com/office/drawing/2014/main" id="{E83B6830-408E-4BA4-9E9C-8141DBFD8598}"/>
                  </a:ext>
                </a:extLst>
              </p:cNvPr>
              <p:cNvSpPr/>
              <p:nvPr/>
            </p:nvSpPr>
            <p:spPr>
              <a:xfrm>
                <a:off x="546317" y="3376757"/>
                <a:ext cx="1273616" cy="1218398"/>
              </a:xfrm>
              <a:custGeom>
                <a:avLst/>
                <a:gdLst>
                  <a:gd name="connsiteX0" fmla="*/ 95349 w 1403016"/>
                  <a:gd name="connsiteY0" fmla="*/ 0 h 1559972"/>
                  <a:gd name="connsiteX1" fmla="*/ 169645 w 1403016"/>
                  <a:gd name="connsiteY1" fmla="*/ 45697 h 1559972"/>
                  <a:gd name="connsiteX2" fmla="*/ 558265 w 1403016"/>
                  <a:gd name="connsiteY2" fmla="*/ 289437 h 1559972"/>
                  <a:gd name="connsiteX3" fmla="*/ 840205 w 1403016"/>
                  <a:gd name="connsiteY3" fmla="*/ 176607 h 1559972"/>
                  <a:gd name="connsiteX4" fmla="*/ 1403016 w 1403016"/>
                  <a:gd name="connsiteY4" fmla="*/ 688886 h 1559972"/>
                  <a:gd name="connsiteX5" fmla="*/ 1356283 w 1403016"/>
                  <a:gd name="connsiteY5" fmla="*/ 1298877 h 1559972"/>
                  <a:gd name="connsiteX6" fmla="*/ 385010 w 1403016"/>
                  <a:gd name="connsiteY6" fmla="*/ 1559972 h 1559972"/>
                  <a:gd name="connsiteX7" fmla="*/ 288758 w 1403016"/>
                  <a:gd name="connsiteY7" fmla="*/ 1030582 h 1559972"/>
                  <a:gd name="connsiteX8" fmla="*/ 0 w 1403016"/>
                  <a:gd name="connsiteY8" fmla="*/ 655197 h 1559972"/>
                  <a:gd name="connsiteX9" fmla="*/ 86627 w 1403016"/>
                  <a:gd name="connsiteY9" fmla="*/ 679 h 1559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3016" h="1559972">
                    <a:moveTo>
                      <a:pt x="95349" y="0"/>
                    </a:moveTo>
                    <a:lnTo>
                      <a:pt x="169645" y="45697"/>
                    </a:lnTo>
                    <a:cubicBezTo>
                      <a:pt x="299185" y="126944"/>
                      <a:pt x="409776" y="200069"/>
                      <a:pt x="558265" y="289437"/>
                    </a:cubicBezTo>
                    <a:lnTo>
                      <a:pt x="840205" y="176607"/>
                    </a:lnTo>
                    <a:lnTo>
                      <a:pt x="1403016" y="688886"/>
                    </a:lnTo>
                    <a:lnTo>
                      <a:pt x="1356283" y="1298877"/>
                    </a:lnTo>
                    <a:lnTo>
                      <a:pt x="385010" y="1559972"/>
                    </a:lnTo>
                    <a:lnTo>
                      <a:pt x="288758" y="1030582"/>
                    </a:lnTo>
                    <a:lnTo>
                      <a:pt x="0" y="655197"/>
                    </a:lnTo>
                    <a:lnTo>
                      <a:pt x="86627" y="679"/>
                    </a:lnTo>
                    <a:close/>
                  </a:path>
                </a:pathLst>
              </a:custGeom>
              <a:solidFill>
                <a:srgbClr val="F7F7F7"/>
              </a:solidFill>
              <a:ln>
                <a:noFill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2" name="Freeform 100">
                <a:extLst>
                  <a:ext uri="{FF2B5EF4-FFF2-40B4-BE49-F238E27FC236}">
                    <a16:creationId xmlns:a16="http://schemas.microsoft.com/office/drawing/2014/main" id="{E19E6AEB-3B93-47A0-9FC3-A3FC0DAD3A0B}"/>
                  </a:ext>
                </a:extLst>
              </p:cNvPr>
              <p:cNvSpPr/>
              <p:nvPr/>
            </p:nvSpPr>
            <p:spPr>
              <a:xfrm>
                <a:off x="3586975" y="3037601"/>
                <a:ext cx="2507670" cy="3195022"/>
              </a:xfrm>
              <a:custGeom>
                <a:avLst/>
                <a:gdLst>
                  <a:gd name="connsiteX0" fmla="*/ 163630 w 2762451"/>
                  <a:gd name="connsiteY0" fmla="*/ 1289785 h 4090737"/>
                  <a:gd name="connsiteX1" fmla="*/ 279133 w 2762451"/>
                  <a:gd name="connsiteY1" fmla="*/ 1193533 h 4090737"/>
                  <a:gd name="connsiteX2" fmla="*/ 481264 w 2762451"/>
                  <a:gd name="connsiteY2" fmla="*/ 1126156 h 4090737"/>
                  <a:gd name="connsiteX3" fmla="*/ 1155032 w 2762451"/>
                  <a:gd name="connsiteY3" fmla="*/ 0 h 4090737"/>
                  <a:gd name="connsiteX4" fmla="*/ 1674796 w 2762451"/>
                  <a:gd name="connsiteY4" fmla="*/ 423512 h 4090737"/>
                  <a:gd name="connsiteX5" fmla="*/ 1867301 w 2762451"/>
                  <a:gd name="connsiteY5" fmla="*/ 991402 h 4090737"/>
                  <a:gd name="connsiteX6" fmla="*/ 2098308 w 2762451"/>
                  <a:gd name="connsiteY6" fmla="*/ 1058779 h 4090737"/>
                  <a:gd name="connsiteX7" fmla="*/ 2310064 w 2762451"/>
                  <a:gd name="connsiteY7" fmla="*/ 1472665 h 4090737"/>
                  <a:gd name="connsiteX8" fmla="*/ 2454443 w 2762451"/>
                  <a:gd name="connsiteY8" fmla="*/ 1607419 h 4090737"/>
                  <a:gd name="connsiteX9" fmla="*/ 2579571 w 2762451"/>
                  <a:gd name="connsiteY9" fmla="*/ 1568918 h 4090737"/>
                  <a:gd name="connsiteX10" fmla="*/ 2762451 w 2762451"/>
                  <a:gd name="connsiteY10" fmla="*/ 3012707 h 4090737"/>
                  <a:gd name="connsiteX11" fmla="*/ 2723950 w 2762451"/>
                  <a:gd name="connsiteY11" fmla="*/ 3426594 h 4090737"/>
                  <a:gd name="connsiteX12" fmla="*/ 2666198 w 2762451"/>
                  <a:gd name="connsiteY12" fmla="*/ 4090737 h 4090737"/>
                  <a:gd name="connsiteX13" fmla="*/ 0 w 2762451"/>
                  <a:gd name="connsiteY13" fmla="*/ 1607419 h 4090737"/>
                  <a:gd name="connsiteX14" fmla="*/ 163630 w 2762451"/>
                  <a:gd name="connsiteY14" fmla="*/ 1289785 h 409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62451" h="4090737">
                    <a:moveTo>
                      <a:pt x="163630" y="1289785"/>
                    </a:moveTo>
                    <a:lnTo>
                      <a:pt x="279133" y="1193533"/>
                    </a:lnTo>
                    <a:lnTo>
                      <a:pt x="481264" y="1126156"/>
                    </a:lnTo>
                    <a:lnTo>
                      <a:pt x="1155032" y="0"/>
                    </a:lnTo>
                    <a:lnTo>
                      <a:pt x="1674796" y="423512"/>
                    </a:lnTo>
                    <a:lnTo>
                      <a:pt x="1867301" y="991402"/>
                    </a:lnTo>
                    <a:lnTo>
                      <a:pt x="2098308" y="1058779"/>
                    </a:lnTo>
                    <a:lnTo>
                      <a:pt x="2310064" y="1472665"/>
                    </a:lnTo>
                    <a:lnTo>
                      <a:pt x="2454443" y="1607419"/>
                    </a:lnTo>
                    <a:lnTo>
                      <a:pt x="2579571" y="1568918"/>
                    </a:lnTo>
                    <a:lnTo>
                      <a:pt x="2762451" y="3012707"/>
                    </a:lnTo>
                    <a:lnTo>
                      <a:pt x="2723950" y="3426594"/>
                    </a:lnTo>
                    <a:lnTo>
                      <a:pt x="2666198" y="4090737"/>
                    </a:lnTo>
                    <a:lnTo>
                      <a:pt x="0" y="1607419"/>
                    </a:lnTo>
                    <a:lnTo>
                      <a:pt x="163630" y="1289785"/>
                    </a:lnTo>
                    <a:close/>
                  </a:path>
                </a:pathLst>
              </a:custGeom>
              <a:solidFill>
                <a:srgbClr val="9A9A9A">
                  <a:alpha val="16000"/>
                </a:srgbClr>
              </a:solidFill>
              <a:ln>
                <a:noFill/>
              </a:ln>
            </p:spPr>
            <p:txBody>
              <a:bodyPr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Freeform 101">
                <a:extLst>
                  <a:ext uri="{FF2B5EF4-FFF2-40B4-BE49-F238E27FC236}">
                    <a16:creationId xmlns:a16="http://schemas.microsoft.com/office/drawing/2014/main" id="{C15DFD6C-6438-487B-AF1D-DDF9DB46A77B}"/>
                  </a:ext>
                </a:extLst>
              </p:cNvPr>
              <p:cNvSpPr/>
              <p:nvPr/>
            </p:nvSpPr>
            <p:spPr>
              <a:xfrm>
                <a:off x="4599622" y="3078144"/>
                <a:ext cx="1495023" cy="3154479"/>
              </a:xfrm>
              <a:custGeom>
                <a:avLst/>
                <a:gdLst>
                  <a:gd name="connsiteX0" fmla="*/ 8443 w 1646918"/>
                  <a:gd name="connsiteY0" fmla="*/ 0 h 4038828"/>
                  <a:gd name="connsiteX1" fmla="*/ 138610 w 1646918"/>
                  <a:gd name="connsiteY1" fmla="*/ 28848 h 4038828"/>
                  <a:gd name="connsiteX2" fmla="*/ 559263 w 1646918"/>
                  <a:gd name="connsiteY2" fmla="*/ 371603 h 4038828"/>
                  <a:gd name="connsiteX3" fmla="*/ 751768 w 1646918"/>
                  <a:gd name="connsiteY3" fmla="*/ 939493 h 4038828"/>
                  <a:gd name="connsiteX4" fmla="*/ 982775 w 1646918"/>
                  <a:gd name="connsiteY4" fmla="*/ 1006870 h 4038828"/>
                  <a:gd name="connsiteX5" fmla="*/ 1194531 w 1646918"/>
                  <a:gd name="connsiteY5" fmla="*/ 1420756 h 4038828"/>
                  <a:gd name="connsiteX6" fmla="*/ 1338910 w 1646918"/>
                  <a:gd name="connsiteY6" fmla="*/ 1555510 h 4038828"/>
                  <a:gd name="connsiteX7" fmla="*/ 1464038 w 1646918"/>
                  <a:gd name="connsiteY7" fmla="*/ 1517009 h 4038828"/>
                  <a:gd name="connsiteX8" fmla="*/ 1646918 w 1646918"/>
                  <a:gd name="connsiteY8" fmla="*/ 2960798 h 4038828"/>
                  <a:gd name="connsiteX9" fmla="*/ 1608417 w 1646918"/>
                  <a:gd name="connsiteY9" fmla="*/ 3374685 h 4038828"/>
                  <a:gd name="connsiteX10" fmla="*/ 1550665 w 1646918"/>
                  <a:gd name="connsiteY10" fmla="*/ 4038828 h 4038828"/>
                  <a:gd name="connsiteX11" fmla="*/ 446919 w 1646918"/>
                  <a:gd name="connsiteY11" fmla="*/ 3010790 h 4038828"/>
                  <a:gd name="connsiteX12" fmla="*/ 366758 w 1646918"/>
                  <a:gd name="connsiteY12" fmla="*/ 2903047 h 4038828"/>
                  <a:gd name="connsiteX13" fmla="*/ 732518 w 1646918"/>
                  <a:gd name="connsiteY13" fmla="*/ 1642137 h 4038828"/>
                  <a:gd name="connsiteX14" fmla="*/ 106876 w 1646918"/>
                  <a:gd name="connsiteY14" fmla="*/ 1247502 h 4038828"/>
                  <a:gd name="connsiteX15" fmla="*/ 251255 w 1646918"/>
                  <a:gd name="connsiteY15" fmla="*/ 535232 h 4038828"/>
                  <a:gd name="connsiteX16" fmla="*/ 0 w 1646918"/>
                  <a:gd name="connsiteY16" fmla="*/ 14111 h 4038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646918" h="4038828">
                    <a:moveTo>
                      <a:pt x="8443" y="0"/>
                    </a:moveTo>
                    <a:lnTo>
                      <a:pt x="138610" y="28848"/>
                    </a:lnTo>
                    <a:lnTo>
                      <a:pt x="559263" y="371603"/>
                    </a:lnTo>
                    <a:lnTo>
                      <a:pt x="751768" y="939493"/>
                    </a:lnTo>
                    <a:lnTo>
                      <a:pt x="982775" y="1006870"/>
                    </a:lnTo>
                    <a:lnTo>
                      <a:pt x="1194531" y="1420756"/>
                    </a:lnTo>
                    <a:lnTo>
                      <a:pt x="1338910" y="1555510"/>
                    </a:lnTo>
                    <a:lnTo>
                      <a:pt x="1464038" y="1517009"/>
                    </a:lnTo>
                    <a:lnTo>
                      <a:pt x="1646918" y="2960798"/>
                    </a:lnTo>
                    <a:lnTo>
                      <a:pt x="1608417" y="3374685"/>
                    </a:lnTo>
                    <a:lnTo>
                      <a:pt x="1550665" y="4038828"/>
                    </a:lnTo>
                    <a:lnTo>
                      <a:pt x="446919" y="3010790"/>
                    </a:lnTo>
                    <a:lnTo>
                      <a:pt x="366758" y="2903047"/>
                    </a:lnTo>
                    <a:lnTo>
                      <a:pt x="732518" y="1642137"/>
                    </a:lnTo>
                    <a:lnTo>
                      <a:pt x="106876" y="1247502"/>
                    </a:lnTo>
                    <a:lnTo>
                      <a:pt x="251255" y="535232"/>
                    </a:lnTo>
                    <a:lnTo>
                      <a:pt x="0" y="14111"/>
                    </a:lnTo>
                    <a:close/>
                  </a:path>
                </a:pathLst>
              </a:custGeom>
              <a:solidFill>
                <a:srgbClr val="F7F7F7"/>
              </a:solidFill>
              <a:ln>
                <a:noFill/>
              </a:ln>
            </p:spPr>
            <p:txBody>
              <a:bodyPr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E1091EE4-E167-4236-B398-46A82B9650E8}"/>
                  </a:ext>
                </a:extLst>
              </p:cNvPr>
              <p:cNvSpPr/>
              <p:nvPr/>
            </p:nvSpPr>
            <p:spPr>
              <a:xfrm>
                <a:off x="0" y="1802698"/>
                <a:ext cx="6033482" cy="4464521"/>
              </a:xfrm>
              <a:custGeom>
                <a:avLst/>
                <a:gdLst>
                  <a:gd name="connsiteX0" fmla="*/ 2643323 w 6033482"/>
                  <a:gd name="connsiteY0" fmla="*/ 0 h 4464521"/>
                  <a:gd name="connsiteX1" fmla="*/ 2861761 w 6033482"/>
                  <a:gd name="connsiteY1" fmla="*/ 777640 h 4464521"/>
                  <a:gd name="connsiteX2" fmla="*/ 3150099 w 6033482"/>
                  <a:gd name="connsiteY2" fmla="*/ 1057241 h 4464521"/>
                  <a:gd name="connsiteX3" fmla="*/ 3403487 w 6033482"/>
                  <a:gd name="connsiteY3" fmla="*/ 1607705 h 4464521"/>
                  <a:gd name="connsiteX4" fmla="*/ 3648138 w 6033482"/>
                  <a:gd name="connsiteY4" fmla="*/ 1467905 h 4464521"/>
                  <a:gd name="connsiteX5" fmla="*/ 3658999 w 6033482"/>
                  <a:gd name="connsiteY5" fmla="*/ 1669151 h 4464521"/>
                  <a:gd name="connsiteX6" fmla="*/ 3616727 w 6033482"/>
                  <a:gd name="connsiteY6" fmla="*/ 1772910 h 4464521"/>
                  <a:gd name="connsiteX7" fmla="*/ 3884051 w 6033482"/>
                  <a:gd name="connsiteY7" fmla="*/ 2184382 h 4464521"/>
                  <a:gd name="connsiteX8" fmla="*/ 4117677 w 6033482"/>
                  <a:gd name="connsiteY8" fmla="*/ 2579908 h 4464521"/>
                  <a:gd name="connsiteX9" fmla="*/ 4356080 w 6033482"/>
                  <a:gd name="connsiteY9" fmla="*/ 2768733 h 4464521"/>
                  <a:gd name="connsiteX10" fmla="*/ 4546600 w 6033482"/>
                  <a:gd name="connsiteY10" fmla="*/ 3154637 h 4464521"/>
                  <a:gd name="connsiteX11" fmla="*/ 4944492 w 6033482"/>
                  <a:gd name="connsiteY11" fmla="*/ 3228472 h 4464521"/>
                  <a:gd name="connsiteX12" fmla="*/ 5314951 w 6033482"/>
                  <a:gd name="connsiteY12" fmla="*/ 3294338 h 4464521"/>
                  <a:gd name="connsiteX13" fmla="*/ 6033482 w 6033482"/>
                  <a:gd name="connsiteY13" fmla="*/ 4438663 h 4464521"/>
                  <a:gd name="connsiteX14" fmla="*/ 0 w 6033482"/>
                  <a:gd name="connsiteY14" fmla="*/ 4464521 h 4464521"/>
                  <a:gd name="connsiteX15" fmla="*/ 0 w 6033482"/>
                  <a:gd name="connsiteY15" fmla="*/ 2962022 h 4464521"/>
                  <a:gd name="connsiteX16" fmla="*/ 39541 w 6033482"/>
                  <a:gd name="connsiteY16" fmla="*/ 2962022 h 4464521"/>
                  <a:gd name="connsiteX17" fmla="*/ 467679 w 6033482"/>
                  <a:gd name="connsiteY17" fmla="*/ 2673683 h 4464521"/>
                  <a:gd name="connsiteX18" fmla="*/ 1000668 w 6033482"/>
                  <a:gd name="connsiteY18" fmla="*/ 2062057 h 4464521"/>
                  <a:gd name="connsiteX19" fmla="*/ 1323956 w 6033482"/>
                  <a:gd name="connsiteY19" fmla="*/ 1992156 h 4464521"/>
                  <a:gd name="connsiteX20" fmla="*/ 1472495 w 6033482"/>
                  <a:gd name="connsiteY20" fmla="*/ 1415480 h 4464521"/>
                  <a:gd name="connsiteX21" fmla="*/ 1725882 w 6033482"/>
                  <a:gd name="connsiteY21" fmla="*/ 996079 h 4464521"/>
                  <a:gd name="connsiteX22" fmla="*/ 2031696 w 6033482"/>
                  <a:gd name="connsiteY22" fmla="*/ 244651 h 4464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33482" h="4464521">
                    <a:moveTo>
                      <a:pt x="2643323" y="0"/>
                    </a:moveTo>
                    <a:lnTo>
                      <a:pt x="2861761" y="777640"/>
                    </a:lnTo>
                    <a:lnTo>
                      <a:pt x="3150099" y="1057241"/>
                    </a:lnTo>
                    <a:lnTo>
                      <a:pt x="3403487" y="1607705"/>
                    </a:lnTo>
                    <a:lnTo>
                      <a:pt x="3648138" y="1467905"/>
                    </a:lnTo>
                    <a:cubicBezTo>
                      <a:pt x="3647915" y="1528582"/>
                      <a:pt x="3657300" y="1620003"/>
                      <a:pt x="3658999" y="1669151"/>
                    </a:cubicBezTo>
                    <a:cubicBezTo>
                      <a:pt x="3645550" y="1701176"/>
                      <a:pt x="3603277" y="1744729"/>
                      <a:pt x="3616727" y="1772910"/>
                    </a:cubicBezTo>
                    <a:lnTo>
                      <a:pt x="3884051" y="2184382"/>
                    </a:lnTo>
                    <a:lnTo>
                      <a:pt x="4117677" y="2579908"/>
                    </a:lnTo>
                    <a:lnTo>
                      <a:pt x="4356080" y="2768733"/>
                    </a:lnTo>
                    <a:cubicBezTo>
                      <a:pt x="4436520" y="2929118"/>
                      <a:pt x="4466160" y="2994252"/>
                      <a:pt x="4546600" y="3154637"/>
                    </a:cubicBezTo>
                    <a:lnTo>
                      <a:pt x="4944492" y="3228472"/>
                    </a:lnTo>
                    <a:cubicBezTo>
                      <a:pt x="5015062" y="3307576"/>
                      <a:pt x="5244381" y="3215233"/>
                      <a:pt x="5314951" y="3294338"/>
                    </a:cubicBezTo>
                    <a:lnTo>
                      <a:pt x="6033482" y="4438663"/>
                    </a:lnTo>
                    <a:lnTo>
                      <a:pt x="0" y="4464521"/>
                    </a:lnTo>
                    <a:lnTo>
                      <a:pt x="0" y="2962022"/>
                    </a:lnTo>
                    <a:lnTo>
                      <a:pt x="39541" y="2962022"/>
                    </a:lnTo>
                    <a:lnTo>
                      <a:pt x="467679" y="2673683"/>
                    </a:lnTo>
                    <a:lnTo>
                      <a:pt x="1000668" y="2062057"/>
                    </a:lnTo>
                    <a:lnTo>
                      <a:pt x="1323956" y="1992156"/>
                    </a:lnTo>
                    <a:lnTo>
                      <a:pt x="1472495" y="1415480"/>
                    </a:lnTo>
                    <a:lnTo>
                      <a:pt x="1725882" y="996079"/>
                    </a:lnTo>
                    <a:lnTo>
                      <a:pt x="2031696" y="24465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rgbClr val="DCDCDC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Freeform 103">
                <a:extLst>
                  <a:ext uri="{FF2B5EF4-FFF2-40B4-BE49-F238E27FC236}">
                    <a16:creationId xmlns:a16="http://schemas.microsoft.com/office/drawing/2014/main" id="{506402B7-3280-49BC-BB68-595CBFE55B1E}"/>
                  </a:ext>
                </a:extLst>
              </p:cNvPr>
              <p:cNvSpPr/>
              <p:nvPr/>
            </p:nvSpPr>
            <p:spPr>
              <a:xfrm>
                <a:off x="1815172" y="1807439"/>
                <a:ext cx="4218309" cy="4439195"/>
              </a:xfrm>
              <a:custGeom>
                <a:avLst/>
                <a:gdLst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617044 w 3984859"/>
                  <a:gd name="connsiteY5" fmla="*/ 2401092 h 4890220"/>
                  <a:gd name="connsiteX6" fmla="*/ 2021305 w 3984859"/>
                  <a:gd name="connsiteY6" fmla="*/ 2766852 h 4890220"/>
                  <a:gd name="connsiteX7" fmla="*/ 2444817 w 3984859"/>
                  <a:gd name="connsiteY7" fmla="*/ 2632099 h 4890220"/>
                  <a:gd name="connsiteX8" fmla="*/ 2820202 w 3984859"/>
                  <a:gd name="connsiteY8" fmla="*/ 2872730 h 4890220"/>
                  <a:gd name="connsiteX9" fmla="*/ 3984859 w 3984859"/>
                  <a:gd name="connsiteY9" fmla="*/ 4884410 h 4890220"/>
                  <a:gd name="connsiteX10" fmla="*/ 2629207 w 3984859"/>
                  <a:gd name="connsiteY10" fmla="*/ 4890220 h 4890220"/>
                  <a:gd name="connsiteX11" fmla="*/ 2540951 w 3984859"/>
                  <a:gd name="connsiteY11" fmla="*/ 4686873 h 4890220"/>
                  <a:gd name="connsiteX12" fmla="*/ 1973179 w 3984859"/>
                  <a:gd name="connsiteY12" fmla="*/ 3305867 h 4890220"/>
                  <a:gd name="connsiteX13" fmla="*/ 1578543 w 3984859"/>
                  <a:gd name="connsiteY13" fmla="*/ 3402120 h 4890220"/>
                  <a:gd name="connsiteX14" fmla="*/ 895150 w 3984859"/>
                  <a:gd name="connsiteY14" fmla="*/ 3161488 h 4890220"/>
                  <a:gd name="connsiteX15" fmla="*/ 375385 w 3984859"/>
                  <a:gd name="connsiteY15" fmla="*/ 2006456 h 4890220"/>
                  <a:gd name="connsiteX16" fmla="*/ 221381 w 3984859"/>
                  <a:gd name="connsiteY16" fmla="*/ 1823576 h 4890220"/>
                  <a:gd name="connsiteX17" fmla="*/ 336884 w 3984859"/>
                  <a:gd name="connsiteY17" fmla="*/ 1197934 h 4890220"/>
                  <a:gd name="connsiteX18" fmla="*/ 0 w 3984859"/>
                  <a:gd name="connsiteY18" fmla="*/ 755172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617044 w 3984859"/>
                  <a:gd name="connsiteY5" fmla="*/ 2401092 h 4890220"/>
                  <a:gd name="connsiteX6" fmla="*/ 2021305 w 3984859"/>
                  <a:gd name="connsiteY6" fmla="*/ 2766852 h 4890220"/>
                  <a:gd name="connsiteX7" fmla="*/ 2444817 w 3984859"/>
                  <a:gd name="connsiteY7" fmla="*/ 2632099 h 4890220"/>
                  <a:gd name="connsiteX8" fmla="*/ 2820202 w 3984859"/>
                  <a:gd name="connsiteY8" fmla="*/ 2872730 h 4890220"/>
                  <a:gd name="connsiteX9" fmla="*/ 3984859 w 3984859"/>
                  <a:gd name="connsiteY9" fmla="*/ 4884410 h 4890220"/>
                  <a:gd name="connsiteX10" fmla="*/ 2629207 w 3984859"/>
                  <a:gd name="connsiteY10" fmla="*/ 4890220 h 4890220"/>
                  <a:gd name="connsiteX11" fmla="*/ 2540951 w 3984859"/>
                  <a:gd name="connsiteY11" fmla="*/ 4686873 h 4890220"/>
                  <a:gd name="connsiteX12" fmla="*/ 1973179 w 3984859"/>
                  <a:gd name="connsiteY12" fmla="*/ 3305867 h 4890220"/>
                  <a:gd name="connsiteX13" fmla="*/ 1578543 w 3984859"/>
                  <a:gd name="connsiteY13" fmla="*/ 3402120 h 4890220"/>
                  <a:gd name="connsiteX14" fmla="*/ 615750 w 3984859"/>
                  <a:gd name="connsiteY14" fmla="*/ 3059888 h 4890220"/>
                  <a:gd name="connsiteX15" fmla="*/ 375385 w 3984859"/>
                  <a:gd name="connsiteY15" fmla="*/ 2006456 h 4890220"/>
                  <a:gd name="connsiteX16" fmla="*/ 221381 w 3984859"/>
                  <a:gd name="connsiteY16" fmla="*/ 1823576 h 4890220"/>
                  <a:gd name="connsiteX17" fmla="*/ 336884 w 3984859"/>
                  <a:gd name="connsiteY17" fmla="*/ 1197934 h 4890220"/>
                  <a:gd name="connsiteX18" fmla="*/ 0 w 3984859"/>
                  <a:gd name="connsiteY18" fmla="*/ 755172 h 4890220"/>
                  <a:gd name="connsiteX19" fmla="*/ 251725 w 3984859"/>
                  <a:gd name="connsiteY19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617044 w 3984859"/>
                  <a:gd name="connsiteY5" fmla="*/ 2401092 h 4890220"/>
                  <a:gd name="connsiteX6" fmla="*/ 2021305 w 3984859"/>
                  <a:gd name="connsiteY6" fmla="*/ 2766852 h 4890220"/>
                  <a:gd name="connsiteX7" fmla="*/ 2444817 w 3984859"/>
                  <a:gd name="connsiteY7" fmla="*/ 2632099 h 4890220"/>
                  <a:gd name="connsiteX8" fmla="*/ 2820202 w 3984859"/>
                  <a:gd name="connsiteY8" fmla="*/ 2872730 h 4890220"/>
                  <a:gd name="connsiteX9" fmla="*/ 3984859 w 3984859"/>
                  <a:gd name="connsiteY9" fmla="*/ 4884410 h 4890220"/>
                  <a:gd name="connsiteX10" fmla="*/ 2629207 w 3984859"/>
                  <a:gd name="connsiteY10" fmla="*/ 4890220 h 4890220"/>
                  <a:gd name="connsiteX11" fmla="*/ 2540951 w 3984859"/>
                  <a:gd name="connsiteY11" fmla="*/ 4686873 h 4890220"/>
                  <a:gd name="connsiteX12" fmla="*/ 1973179 w 3984859"/>
                  <a:gd name="connsiteY12" fmla="*/ 3305867 h 4890220"/>
                  <a:gd name="connsiteX13" fmla="*/ 1286443 w 3984859"/>
                  <a:gd name="connsiteY13" fmla="*/ 3427520 h 4890220"/>
                  <a:gd name="connsiteX14" fmla="*/ 615750 w 3984859"/>
                  <a:gd name="connsiteY14" fmla="*/ 3059888 h 4890220"/>
                  <a:gd name="connsiteX15" fmla="*/ 375385 w 3984859"/>
                  <a:gd name="connsiteY15" fmla="*/ 2006456 h 4890220"/>
                  <a:gd name="connsiteX16" fmla="*/ 221381 w 3984859"/>
                  <a:gd name="connsiteY16" fmla="*/ 1823576 h 4890220"/>
                  <a:gd name="connsiteX17" fmla="*/ 336884 w 3984859"/>
                  <a:gd name="connsiteY17" fmla="*/ 1197934 h 4890220"/>
                  <a:gd name="connsiteX18" fmla="*/ 0 w 3984859"/>
                  <a:gd name="connsiteY18" fmla="*/ 755172 h 4890220"/>
                  <a:gd name="connsiteX19" fmla="*/ 251725 w 3984859"/>
                  <a:gd name="connsiteY19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617044 w 3984859"/>
                  <a:gd name="connsiteY5" fmla="*/ 2401092 h 4890220"/>
                  <a:gd name="connsiteX6" fmla="*/ 2021305 w 3984859"/>
                  <a:gd name="connsiteY6" fmla="*/ 2766852 h 4890220"/>
                  <a:gd name="connsiteX7" fmla="*/ 2444817 w 3984859"/>
                  <a:gd name="connsiteY7" fmla="*/ 2632099 h 4890220"/>
                  <a:gd name="connsiteX8" fmla="*/ 2820202 w 3984859"/>
                  <a:gd name="connsiteY8" fmla="*/ 2872730 h 4890220"/>
                  <a:gd name="connsiteX9" fmla="*/ 3984859 w 3984859"/>
                  <a:gd name="connsiteY9" fmla="*/ 4884410 h 4890220"/>
                  <a:gd name="connsiteX10" fmla="*/ 2629207 w 3984859"/>
                  <a:gd name="connsiteY10" fmla="*/ 4890220 h 4890220"/>
                  <a:gd name="connsiteX11" fmla="*/ 2540951 w 3984859"/>
                  <a:gd name="connsiteY11" fmla="*/ 4686873 h 4890220"/>
                  <a:gd name="connsiteX12" fmla="*/ 1782679 w 3984859"/>
                  <a:gd name="connsiteY12" fmla="*/ 3610667 h 4890220"/>
                  <a:gd name="connsiteX13" fmla="*/ 1286443 w 3984859"/>
                  <a:gd name="connsiteY13" fmla="*/ 3427520 h 4890220"/>
                  <a:gd name="connsiteX14" fmla="*/ 615750 w 3984859"/>
                  <a:gd name="connsiteY14" fmla="*/ 3059888 h 4890220"/>
                  <a:gd name="connsiteX15" fmla="*/ 375385 w 3984859"/>
                  <a:gd name="connsiteY15" fmla="*/ 2006456 h 4890220"/>
                  <a:gd name="connsiteX16" fmla="*/ 221381 w 3984859"/>
                  <a:gd name="connsiteY16" fmla="*/ 1823576 h 4890220"/>
                  <a:gd name="connsiteX17" fmla="*/ 336884 w 3984859"/>
                  <a:gd name="connsiteY17" fmla="*/ 1197934 h 4890220"/>
                  <a:gd name="connsiteX18" fmla="*/ 0 w 3984859"/>
                  <a:gd name="connsiteY18" fmla="*/ 755172 h 4890220"/>
                  <a:gd name="connsiteX19" fmla="*/ 251725 w 3984859"/>
                  <a:gd name="connsiteY19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617044 w 3984859"/>
                  <a:gd name="connsiteY5" fmla="*/ 2401092 h 4890220"/>
                  <a:gd name="connsiteX6" fmla="*/ 2021305 w 3984859"/>
                  <a:gd name="connsiteY6" fmla="*/ 2766852 h 4890220"/>
                  <a:gd name="connsiteX7" fmla="*/ 2444817 w 3984859"/>
                  <a:gd name="connsiteY7" fmla="*/ 2632099 h 4890220"/>
                  <a:gd name="connsiteX8" fmla="*/ 2820202 w 3984859"/>
                  <a:gd name="connsiteY8" fmla="*/ 2872730 h 4890220"/>
                  <a:gd name="connsiteX9" fmla="*/ 3984859 w 3984859"/>
                  <a:gd name="connsiteY9" fmla="*/ 4884410 h 4890220"/>
                  <a:gd name="connsiteX10" fmla="*/ 2629207 w 3984859"/>
                  <a:gd name="connsiteY10" fmla="*/ 4890220 h 4890220"/>
                  <a:gd name="connsiteX11" fmla="*/ 2540951 w 3984859"/>
                  <a:gd name="connsiteY11" fmla="*/ 4686873 h 4890220"/>
                  <a:gd name="connsiteX12" fmla="*/ 1782679 w 3984859"/>
                  <a:gd name="connsiteY12" fmla="*/ 3610667 h 4890220"/>
                  <a:gd name="connsiteX13" fmla="*/ 1286443 w 3984859"/>
                  <a:gd name="connsiteY13" fmla="*/ 3427520 h 4890220"/>
                  <a:gd name="connsiteX14" fmla="*/ 615750 w 3984859"/>
                  <a:gd name="connsiteY14" fmla="*/ 3059888 h 4890220"/>
                  <a:gd name="connsiteX15" fmla="*/ 375385 w 3984859"/>
                  <a:gd name="connsiteY15" fmla="*/ 2006456 h 4890220"/>
                  <a:gd name="connsiteX16" fmla="*/ 221381 w 3984859"/>
                  <a:gd name="connsiteY16" fmla="*/ 1823576 h 4890220"/>
                  <a:gd name="connsiteX17" fmla="*/ 336884 w 3984859"/>
                  <a:gd name="connsiteY17" fmla="*/ 1197934 h 4890220"/>
                  <a:gd name="connsiteX18" fmla="*/ 0 w 3984859"/>
                  <a:gd name="connsiteY18" fmla="*/ 755172 h 4890220"/>
                  <a:gd name="connsiteX19" fmla="*/ 251725 w 3984859"/>
                  <a:gd name="connsiteY19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617044 w 3984859"/>
                  <a:gd name="connsiteY6" fmla="*/ 2401092 h 4890220"/>
                  <a:gd name="connsiteX7" fmla="*/ 2021305 w 3984859"/>
                  <a:gd name="connsiteY7" fmla="*/ 2766852 h 4890220"/>
                  <a:gd name="connsiteX8" fmla="*/ 2444817 w 3984859"/>
                  <a:gd name="connsiteY8" fmla="*/ 2632099 h 4890220"/>
                  <a:gd name="connsiteX9" fmla="*/ 2820202 w 3984859"/>
                  <a:gd name="connsiteY9" fmla="*/ 2872730 h 4890220"/>
                  <a:gd name="connsiteX10" fmla="*/ 3984859 w 3984859"/>
                  <a:gd name="connsiteY10" fmla="*/ 4884410 h 4890220"/>
                  <a:gd name="connsiteX11" fmla="*/ 2629207 w 3984859"/>
                  <a:gd name="connsiteY11" fmla="*/ 4890220 h 4890220"/>
                  <a:gd name="connsiteX12" fmla="*/ 2540951 w 3984859"/>
                  <a:gd name="connsiteY12" fmla="*/ 4686873 h 4890220"/>
                  <a:gd name="connsiteX13" fmla="*/ 1782679 w 3984859"/>
                  <a:gd name="connsiteY13" fmla="*/ 3610667 h 4890220"/>
                  <a:gd name="connsiteX14" fmla="*/ 1286443 w 3984859"/>
                  <a:gd name="connsiteY14" fmla="*/ 3427520 h 4890220"/>
                  <a:gd name="connsiteX15" fmla="*/ 615750 w 3984859"/>
                  <a:gd name="connsiteY15" fmla="*/ 3059888 h 4890220"/>
                  <a:gd name="connsiteX16" fmla="*/ 375385 w 3984859"/>
                  <a:gd name="connsiteY16" fmla="*/ 2006456 h 4890220"/>
                  <a:gd name="connsiteX17" fmla="*/ 221381 w 3984859"/>
                  <a:gd name="connsiteY17" fmla="*/ 1823576 h 4890220"/>
                  <a:gd name="connsiteX18" fmla="*/ 336884 w 3984859"/>
                  <a:gd name="connsiteY18" fmla="*/ 1197934 h 4890220"/>
                  <a:gd name="connsiteX19" fmla="*/ 0 w 3984859"/>
                  <a:gd name="connsiteY19" fmla="*/ 755172 h 4890220"/>
                  <a:gd name="connsiteX20" fmla="*/ 251725 w 3984859"/>
                  <a:gd name="connsiteY20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2021305 w 3984859"/>
                  <a:gd name="connsiteY8" fmla="*/ 2766852 h 4890220"/>
                  <a:gd name="connsiteX9" fmla="*/ 2444817 w 3984859"/>
                  <a:gd name="connsiteY9" fmla="*/ 2632099 h 4890220"/>
                  <a:gd name="connsiteX10" fmla="*/ 2820202 w 3984859"/>
                  <a:gd name="connsiteY10" fmla="*/ 2872730 h 4890220"/>
                  <a:gd name="connsiteX11" fmla="*/ 3984859 w 3984859"/>
                  <a:gd name="connsiteY11" fmla="*/ 4884410 h 4890220"/>
                  <a:gd name="connsiteX12" fmla="*/ 2629207 w 3984859"/>
                  <a:gd name="connsiteY12" fmla="*/ 4890220 h 4890220"/>
                  <a:gd name="connsiteX13" fmla="*/ 2540951 w 3984859"/>
                  <a:gd name="connsiteY13" fmla="*/ 4686873 h 4890220"/>
                  <a:gd name="connsiteX14" fmla="*/ 1782679 w 3984859"/>
                  <a:gd name="connsiteY14" fmla="*/ 3610667 h 4890220"/>
                  <a:gd name="connsiteX15" fmla="*/ 1286443 w 3984859"/>
                  <a:gd name="connsiteY15" fmla="*/ 3427520 h 4890220"/>
                  <a:gd name="connsiteX16" fmla="*/ 615750 w 3984859"/>
                  <a:gd name="connsiteY16" fmla="*/ 3059888 h 4890220"/>
                  <a:gd name="connsiteX17" fmla="*/ 375385 w 3984859"/>
                  <a:gd name="connsiteY17" fmla="*/ 2006456 h 4890220"/>
                  <a:gd name="connsiteX18" fmla="*/ 221381 w 3984859"/>
                  <a:gd name="connsiteY18" fmla="*/ 1823576 h 4890220"/>
                  <a:gd name="connsiteX19" fmla="*/ 336884 w 3984859"/>
                  <a:gd name="connsiteY19" fmla="*/ 1197934 h 4890220"/>
                  <a:gd name="connsiteX20" fmla="*/ 0 w 3984859"/>
                  <a:gd name="connsiteY20" fmla="*/ 755172 h 4890220"/>
                  <a:gd name="connsiteX21" fmla="*/ 251725 w 3984859"/>
                  <a:gd name="connsiteY21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2021305 w 3984859"/>
                  <a:gd name="connsiteY8" fmla="*/ 2766852 h 4890220"/>
                  <a:gd name="connsiteX9" fmla="*/ 2444817 w 3984859"/>
                  <a:gd name="connsiteY9" fmla="*/ 2632099 h 4890220"/>
                  <a:gd name="connsiteX10" fmla="*/ 2820202 w 3984859"/>
                  <a:gd name="connsiteY10" fmla="*/ 2872730 h 4890220"/>
                  <a:gd name="connsiteX11" fmla="*/ 3984859 w 3984859"/>
                  <a:gd name="connsiteY11" fmla="*/ 4884410 h 4890220"/>
                  <a:gd name="connsiteX12" fmla="*/ 2629207 w 3984859"/>
                  <a:gd name="connsiteY12" fmla="*/ 4890220 h 4890220"/>
                  <a:gd name="connsiteX13" fmla="*/ 2540951 w 3984859"/>
                  <a:gd name="connsiteY13" fmla="*/ 4686873 h 4890220"/>
                  <a:gd name="connsiteX14" fmla="*/ 1782679 w 3984859"/>
                  <a:gd name="connsiteY14" fmla="*/ 3610667 h 4890220"/>
                  <a:gd name="connsiteX15" fmla="*/ 1286443 w 3984859"/>
                  <a:gd name="connsiteY15" fmla="*/ 3427520 h 4890220"/>
                  <a:gd name="connsiteX16" fmla="*/ 615750 w 3984859"/>
                  <a:gd name="connsiteY16" fmla="*/ 3059888 h 4890220"/>
                  <a:gd name="connsiteX17" fmla="*/ 375385 w 3984859"/>
                  <a:gd name="connsiteY17" fmla="*/ 2006456 h 4890220"/>
                  <a:gd name="connsiteX18" fmla="*/ 221381 w 3984859"/>
                  <a:gd name="connsiteY18" fmla="*/ 1823576 h 4890220"/>
                  <a:gd name="connsiteX19" fmla="*/ 336884 w 3984859"/>
                  <a:gd name="connsiteY19" fmla="*/ 1197934 h 4890220"/>
                  <a:gd name="connsiteX20" fmla="*/ 0 w 3984859"/>
                  <a:gd name="connsiteY20" fmla="*/ 755172 h 4890220"/>
                  <a:gd name="connsiteX21" fmla="*/ 251725 w 3984859"/>
                  <a:gd name="connsiteY21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2021305 w 3984859"/>
                  <a:gd name="connsiteY8" fmla="*/ 2766852 h 4890220"/>
                  <a:gd name="connsiteX9" fmla="*/ 2444817 w 3984859"/>
                  <a:gd name="connsiteY9" fmla="*/ 2632099 h 4890220"/>
                  <a:gd name="connsiteX10" fmla="*/ 2820202 w 3984859"/>
                  <a:gd name="connsiteY10" fmla="*/ 2872730 h 4890220"/>
                  <a:gd name="connsiteX11" fmla="*/ 3984859 w 3984859"/>
                  <a:gd name="connsiteY11" fmla="*/ 4884410 h 4890220"/>
                  <a:gd name="connsiteX12" fmla="*/ 2629207 w 3984859"/>
                  <a:gd name="connsiteY12" fmla="*/ 4890220 h 4890220"/>
                  <a:gd name="connsiteX13" fmla="*/ 2540951 w 3984859"/>
                  <a:gd name="connsiteY13" fmla="*/ 4686873 h 4890220"/>
                  <a:gd name="connsiteX14" fmla="*/ 1782679 w 3984859"/>
                  <a:gd name="connsiteY14" fmla="*/ 3610667 h 4890220"/>
                  <a:gd name="connsiteX15" fmla="*/ 1286443 w 3984859"/>
                  <a:gd name="connsiteY15" fmla="*/ 3427520 h 4890220"/>
                  <a:gd name="connsiteX16" fmla="*/ 615750 w 3984859"/>
                  <a:gd name="connsiteY16" fmla="*/ 3059888 h 4890220"/>
                  <a:gd name="connsiteX17" fmla="*/ 375385 w 3984859"/>
                  <a:gd name="connsiteY17" fmla="*/ 2006456 h 4890220"/>
                  <a:gd name="connsiteX18" fmla="*/ 221381 w 3984859"/>
                  <a:gd name="connsiteY18" fmla="*/ 1823576 h 4890220"/>
                  <a:gd name="connsiteX19" fmla="*/ 336884 w 3984859"/>
                  <a:gd name="connsiteY19" fmla="*/ 1197934 h 4890220"/>
                  <a:gd name="connsiteX20" fmla="*/ 0 w 3984859"/>
                  <a:gd name="connsiteY20" fmla="*/ 755172 h 4890220"/>
                  <a:gd name="connsiteX21" fmla="*/ 251725 w 3984859"/>
                  <a:gd name="connsiteY21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2021305 w 3984859"/>
                  <a:gd name="connsiteY8" fmla="*/ 2766852 h 4890220"/>
                  <a:gd name="connsiteX9" fmla="*/ 2444817 w 3984859"/>
                  <a:gd name="connsiteY9" fmla="*/ 2632099 h 4890220"/>
                  <a:gd name="connsiteX10" fmla="*/ 2820202 w 3984859"/>
                  <a:gd name="connsiteY10" fmla="*/ 2872730 h 4890220"/>
                  <a:gd name="connsiteX11" fmla="*/ 3984859 w 3984859"/>
                  <a:gd name="connsiteY11" fmla="*/ 4884410 h 4890220"/>
                  <a:gd name="connsiteX12" fmla="*/ 2629207 w 3984859"/>
                  <a:gd name="connsiteY12" fmla="*/ 4890220 h 4890220"/>
                  <a:gd name="connsiteX13" fmla="*/ 2540951 w 3984859"/>
                  <a:gd name="connsiteY13" fmla="*/ 4686873 h 4890220"/>
                  <a:gd name="connsiteX14" fmla="*/ 1782679 w 3984859"/>
                  <a:gd name="connsiteY14" fmla="*/ 3610667 h 4890220"/>
                  <a:gd name="connsiteX15" fmla="*/ 1337243 w 3984859"/>
                  <a:gd name="connsiteY15" fmla="*/ 3532295 h 4890220"/>
                  <a:gd name="connsiteX16" fmla="*/ 615750 w 3984859"/>
                  <a:gd name="connsiteY16" fmla="*/ 3059888 h 4890220"/>
                  <a:gd name="connsiteX17" fmla="*/ 375385 w 3984859"/>
                  <a:gd name="connsiteY17" fmla="*/ 2006456 h 4890220"/>
                  <a:gd name="connsiteX18" fmla="*/ 221381 w 3984859"/>
                  <a:gd name="connsiteY18" fmla="*/ 1823576 h 4890220"/>
                  <a:gd name="connsiteX19" fmla="*/ 336884 w 3984859"/>
                  <a:gd name="connsiteY19" fmla="*/ 1197934 h 4890220"/>
                  <a:gd name="connsiteX20" fmla="*/ 0 w 3984859"/>
                  <a:gd name="connsiteY20" fmla="*/ 755172 h 4890220"/>
                  <a:gd name="connsiteX21" fmla="*/ 251725 w 3984859"/>
                  <a:gd name="connsiteY21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2021305 w 3984859"/>
                  <a:gd name="connsiteY8" fmla="*/ 2766852 h 4890220"/>
                  <a:gd name="connsiteX9" fmla="*/ 2444817 w 3984859"/>
                  <a:gd name="connsiteY9" fmla="*/ 2632099 h 4890220"/>
                  <a:gd name="connsiteX10" fmla="*/ 2820202 w 3984859"/>
                  <a:gd name="connsiteY10" fmla="*/ 2872730 h 4890220"/>
                  <a:gd name="connsiteX11" fmla="*/ 3984859 w 3984859"/>
                  <a:gd name="connsiteY11" fmla="*/ 4884410 h 4890220"/>
                  <a:gd name="connsiteX12" fmla="*/ 2629207 w 3984859"/>
                  <a:gd name="connsiteY12" fmla="*/ 4890220 h 4890220"/>
                  <a:gd name="connsiteX13" fmla="*/ 2540951 w 3984859"/>
                  <a:gd name="connsiteY13" fmla="*/ 4686873 h 4890220"/>
                  <a:gd name="connsiteX14" fmla="*/ 1782679 w 3984859"/>
                  <a:gd name="connsiteY14" fmla="*/ 3610667 h 4890220"/>
                  <a:gd name="connsiteX15" fmla="*/ 1692977 w 3984859"/>
                  <a:gd name="connsiteY15" fmla="*/ 3561772 h 4890220"/>
                  <a:gd name="connsiteX16" fmla="*/ 1337243 w 3984859"/>
                  <a:gd name="connsiteY16" fmla="*/ 3532295 h 4890220"/>
                  <a:gd name="connsiteX17" fmla="*/ 615750 w 3984859"/>
                  <a:gd name="connsiteY17" fmla="*/ 3059888 h 4890220"/>
                  <a:gd name="connsiteX18" fmla="*/ 375385 w 3984859"/>
                  <a:gd name="connsiteY18" fmla="*/ 2006456 h 4890220"/>
                  <a:gd name="connsiteX19" fmla="*/ 221381 w 3984859"/>
                  <a:gd name="connsiteY19" fmla="*/ 1823576 h 4890220"/>
                  <a:gd name="connsiteX20" fmla="*/ 336884 w 3984859"/>
                  <a:gd name="connsiteY20" fmla="*/ 1197934 h 4890220"/>
                  <a:gd name="connsiteX21" fmla="*/ 0 w 3984859"/>
                  <a:gd name="connsiteY21" fmla="*/ 755172 h 4890220"/>
                  <a:gd name="connsiteX22" fmla="*/ 251725 w 3984859"/>
                  <a:gd name="connsiteY22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2021305 w 3984859"/>
                  <a:gd name="connsiteY8" fmla="*/ 2766852 h 4890220"/>
                  <a:gd name="connsiteX9" fmla="*/ 2444817 w 3984859"/>
                  <a:gd name="connsiteY9" fmla="*/ 2632099 h 4890220"/>
                  <a:gd name="connsiteX10" fmla="*/ 2820202 w 3984859"/>
                  <a:gd name="connsiteY10" fmla="*/ 2872730 h 4890220"/>
                  <a:gd name="connsiteX11" fmla="*/ 3984859 w 3984859"/>
                  <a:gd name="connsiteY11" fmla="*/ 4884410 h 4890220"/>
                  <a:gd name="connsiteX12" fmla="*/ 2629207 w 3984859"/>
                  <a:gd name="connsiteY12" fmla="*/ 4890220 h 4890220"/>
                  <a:gd name="connsiteX13" fmla="*/ 2540951 w 3984859"/>
                  <a:gd name="connsiteY13" fmla="*/ 4686873 h 4890220"/>
                  <a:gd name="connsiteX14" fmla="*/ 1827129 w 3984859"/>
                  <a:gd name="connsiteY14" fmla="*/ 3632892 h 4890220"/>
                  <a:gd name="connsiteX15" fmla="*/ 1692977 w 3984859"/>
                  <a:gd name="connsiteY15" fmla="*/ 3561772 h 4890220"/>
                  <a:gd name="connsiteX16" fmla="*/ 1337243 w 3984859"/>
                  <a:gd name="connsiteY16" fmla="*/ 3532295 h 4890220"/>
                  <a:gd name="connsiteX17" fmla="*/ 615750 w 3984859"/>
                  <a:gd name="connsiteY17" fmla="*/ 3059888 h 4890220"/>
                  <a:gd name="connsiteX18" fmla="*/ 375385 w 3984859"/>
                  <a:gd name="connsiteY18" fmla="*/ 2006456 h 4890220"/>
                  <a:gd name="connsiteX19" fmla="*/ 221381 w 3984859"/>
                  <a:gd name="connsiteY19" fmla="*/ 1823576 h 4890220"/>
                  <a:gd name="connsiteX20" fmla="*/ 336884 w 3984859"/>
                  <a:gd name="connsiteY20" fmla="*/ 1197934 h 4890220"/>
                  <a:gd name="connsiteX21" fmla="*/ 0 w 3984859"/>
                  <a:gd name="connsiteY21" fmla="*/ 755172 h 4890220"/>
                  <a:gd name="connsiteX22" fmla="*/ 251725 w 3984859"/>
                  <a:gd name="connsiteY22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2021305 w 3984859"/>
                  <a:gd name="connsiteY8" fmla="*/ 2766852 h 4890220"/>
                  <a:gd name="connsiteX9" fmla="*/ 2444817 w 3984859"/>
                  <a:gd name="connsiteY9" fmla="*/ 2632099 h 4890220"/>
                  <a:gd name="connsiteX10" fmla="*/ 2820202 w 3984859"/>
                  <a:gd name="connsiteY10" fmla="*/ 2872730 h 4890220"/>
                  <a:gd name="connsiteX11" fmla="*/ 3984859 w 3984859"/>
                  <a:gd name="connsiteY11" fmla="*/ 4884410 h 4890220"/>
                  <a:gd name="connsiteX12" fmla="*/ 2629207 w 3984859"/>
                  <a:gd name="connsiteY12" fmla="*/ 4890220 h 4890220"/>
                  <a:gd name="connsiteX13" fmla="*/ 2540951 w 3984859"/>
                  <a:gd name="connsiteY13" fmla="*/ 4686873 h 4890220"/>
                  <a:gd name="connsiteX14" fmla="*/ 1827129 w 3984859"/>
                  <a:gd name="connsiteY14" fmla="*/ 3632892 h 4890220"/>
                  <a:gd name="connsiteX15" fmla="*/ 1712027 w 3984859"/>
                  <a:gd name="connsiteY15" fmla="*/ 3564947 h 4890220"/>
                  <a:gd name="connsiteX16" fmla="*/ 1337243 w 3984859"/>
                  <a:gd name="connsiteY16" fmla="*/ 3532295 h 4890220"/>
                  <a:gd name="connsiteX17" fmla="*/ 615750 w 3984859"/>
                  <a:gd name="connsiteY17" fmla="*/ 3059888 h 4890220"/>
                  <a:gd name="connsiteX18" fmla="*/ 375385 w 3984859"/>
                  <a:gd name="connsiteY18" fmla="*/ 2006456 h 4890220"/>
                  <a:gd name="connsiteX19" fmla="*/ 221381 w 3984859"/>
                  <a:gd name="connsiteY19" fmla="*/ 1823576 h 4890220"/>
                  <a:gd name="connsiteX20" fmla="*/ 336884 w 3984859"/>
                  <a:gd name="connsiteY20" fmla="*/ 1197934 h 4890220"/>
                  <a:gd name="connsiteX21" fmla="*/ 0 w 3984859"/>
                  <a:gd name="connsiteY21" fmla="*/ 755172 h 4890220"/>
                  <a:gd name="connsiteX22" fmla="*/ 251725 w 3984859"/>
                  <a:gd name="connsiteY22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2021305 w 3984859"/>
                  <a:gd name="connsiteY8" fmla="*/ 2766852 h 4890220"/>
                  <a:gd name="connsiteX9" fmla="*/ 2444817 w 3984859"/>
                  <a:gd name="connsiteY9" fmla="*/ 2632099 h 4890220"/>
                  <a:gd name="connsiteX10" fmla="*/ 2785227 w 3984859"/>
                  <a:gd name="connsiteY10" fmla="*/ 3495299 h 4890220"/>
                  <a:gd name="connsiteX11" fmla="*/ 3984859 w 3984859"/>
                  <a:gd name="connsiteY11" fmla="*/ 4884410 h 4890220"/>
                  <a:gd name="connsiteX12" fmla="*/ 2629207 w 3984859"/>
                  <a:gd name="connsiteY12" fmla="*/ 4890220 h 4890220"/>
                  <a:gd name="connsiteX13" fmla="*/ 2540951 w 3984859"/>
                  <a:gd name="connsiteY13" fmla="*/ 4686873 h 4890220"/>
                  <a:gd name="connsiteX14" fmla="*/ 1827129 w 3984859"/>
                  <a:gd name="connsiteY14" fmla="*/ 3632892 h 4890220"/>
                  <a:gd name="connsiteX15" fmla="*/ 1712027 w 3984859"/>
                  <a:gd name="connsiteY15" fmla="*/ 3564947 h 4890220"/>
                  <a:gd name="connsiteX16" fmla="*/ 1337243 w 3984859"/>
                  <a:gd name="connsiteY16" fmla="*/ 3532295 h 4890220"/>
                  <a:gd name="connsiteX17" fmla="*/ 615750 w 3984859"/>
                  <a:gd name="connsiteY17" fmla="*/ 3059888 h 4890220"/>
                  <a:gd name="connsiteX18" fmla="*/ 375385 w 3984859"/>
                  <a:gd name="connsiteY18" fmla="*/ 2006456 h 4890220"/>
                  <a:gd name="connsiteX19" fmla="*/ 221381 w 3984859"/>
                  <a:gd name="connsiteY19" fmla="*/ 1823576 h 4890220"/>
                  <a:gd name="connsiteX20" fmla="*/ 336884 w 3984859"/>
                  <a:gd name="connsiteY20" fmla="*/ 1197934 h 4890220"/>
                  <a:gd name="connsiteX21" fmla="*/ 0 w 3984859"/>
                  <a:gd name="connsiteY21" fmla="*/ 755172 h 4890220"/>
                  <a:gd name="connsiteX22" fmla="*/ 251725 w 3984859"/>
                  <a:gd name="connsiteY22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2021305 w 3984859"/>
                  <a:gd name="connsiteY8" fmla="*/ 2766852 h 4890220"/>
                  <a:gd name="connsiteX9" fmla="*/ 2444817 w 3984859"/>
                  <a:gd name="connsiteY9" fmla="*/ 2632099 h 4890220"/>
                  <a:gd name="connsiteX10" fmla="*/ 2785227 w 3984859"/>
                  <a:gd name="connsiteY10" fmla="*/ 3495299 h 4890220"/>
                  <a:gd name="connsiteX11" fmla="*/ 3102386 w 3984859"/>
                  <a:gd name="connsiteY11" fmla="*/ 3630815 h 4890220"/>
                  <a:gd name="connsiteX12" fmla="*/ 3984859 w 3984859"/>
                  <a:gd name="connsiteY12" fmla="*/ 4884410 h 4890220"/>
                  <a:gd name="connsiteX13" fmla="*/ 2629207 w 3984859"/>
                  <a:gd name="connsiteY13" fmla="*/ 4890220 h 4890220"/>
                  <a:gd name="connsiteX14" fmla="*/ 2540951 w 3984859"/>
                  <a:gd name="connsiteY14" fmla="*/ 4686873 h 4890220"/>
                  <a:gd name="connsiteX15" fmla="*/ 1827129 w 3984859"/>
                  <a:gd name="connsiteY15" fmla="*/ 3632892 h 4890220"/>
                  <a:gd name="connsiteX16" fmla="*/ 1712027 w 3984859"/>
                  <a:gd name="connsiteY16" fmla="*/ 3564947 h 4890220"/>
                  <a:gd name="connsiteX17" fmla="*/ 1337243 w 3984859"/>
                  <a:gd name="connsiteY17" fmla="*/ 3532295 h 4890220"/>
                  <a:gd name="connsiteX18" fmla="*/ 615750 w 3984859"/>
                  <a:gd name="connsiteY18" fmla="*/ 3059888 h 4890220"/>
                  <a:gd name="connsiteX19" fmla="*/ 375385 w 3984859"/>
                  <a:gd name="connsiteY19" fmla="*/ 2006456 h 4890220"/>
                  <a:gd name="connsiteX20" fmla="*/ 221381 w 3984859"/>
                  <a:gd name="connsiteY20" fmla="*/ 1823576 h 4890220"/>
                  <a:gd name="connsiteX21" fmla="*/ 336884 w 3984859"/>
                  <a:gd name="connsiteY21" fmla="*/ 1197934 h 4890220"/>
                  <a:gd name="connsiteX22" fmla="*/ 0 w 3984859"/>
                  <a:gd name="connsiteY22" fmla="*/ 755172 h 4890220"/>
                  <a:gd name="connsiteX23" fmla="*/ 251725 w 3984859"/>
                  <a:gd name="connsiteY23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2021305 w 3984859"/>
                  <a:gd name="connsiteY8" fmla="*/ 2766852 h 4890220"/>
                  <a:gd name="connsiteX9" fmla="*/ 2444817 w 3984859"/>
                  <a:gd name="connsiteY9" fmla="*/ 2632099 h 4890220"/>
                  <a:gd name="connsiteX10" fmla="*/ 2813207 w 3984859"/>
                  <a:gd name="connsiteY10" fmla="*/ 3565251 h 4890220"/>
                  <a:gd name="connsiteX11" fmla="*/ 3102386 w 3984859"/>
                  <a:gd name="connsiteY11" fmla="*/ 3630815 h 4890220"/>
                  <a:gd name="connsiteX12" fmla="*/ 3984859 w 3984859"/>
                  <a:gd name="connsiteY12" fmla="*/ 4884410 h 4890220"/>
                  <a:gd name="connsiteX13" fmla="*/ 2629207 w 3984859"/>
                  <a:gd name="connsiteY13" fmla="*/ 4890220 h 4890220"/>
                  <a:gd name="connsiteX14" fmla="*/ 2540951 w 3984859"/>
                  <a:gd name="connsiteY14" fmla="*/ 4686873 h 4890220"/>
                  <a:gd name="connsiteX15" fmla="*/ 1827129 w 3984859"/>
                  <a:gd name="connsiteY15" fmla="*/ 3632892 h 4890220"/>
                  <a:gd name="connsiteX16" fmla="*/ 1712027 w 3984859"/>
                  <a:gd name="connsiteY16" fmla="*/ 3564947 h 4890220"/>
                  <a:gd name="connsiteX17" fmla="*/ 1337243 w 3984859"/>
                  <a:gd name="connsiteY17" fmla="*/ 3532295 h 4890220"/>
                  <a:gd name="connsiteX18" fmla="*/ 615750 w 3984859"/>
                  <a:gd name="connsiteY18" fmla="*/ 3059888 h 4890220"/>
                  <a:gd name="connsiteX19" fmla="*/ 375385 w 3984859"/>
                  <a:gd name="connsiteY19" fmla="*/ 2006456 h 4890220"/>
                  <a:gd name="connsiteX20" fmla="*/ 221381 w 3984859"/>
                  <a:gd name="connsiteY20" fmla="*/ 1823576 h 4890220"/>
                  <a:gd name="connsiteX21" fmla="*/ 336884 w 3984859"/>
                  <a:gd name="connsiteY21" fmla="*/ 1197934 h 4890220"/>
                  <a:gd name="connsiteX22" fmla="*/ 0 w 3984859"/>
                  <a:gd name="connsiteY22" fmla="*/ 755172 h 4890220"/>
                  <a:gd name="connsiteX23" fmla="*/ 251725 w 3984859"/>
                  <a:gd name="connsiteY23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2021305 w 3984859"/>
                  <a:gd name="connsiteY8" fmla="*/ 2766852 h 4890220"/>
                  <a:gd name="connsiteX9" fmla="*/ 2444817 w 3984859"/>
                  <a:gd name="connsiteY9" fmla="*/ 2632099 h 4890220"/>
                  <a:gd name="connsiteX10" fmla="*/ 2813207 w 3984859"/>
                  <a:gd name="connsiteY10" fmla="*/ 3565251 h 4890220"/>
                  <a:gd name="connsiteX11" fmla="*/ 3186328 w 3984859"/>
                  <a:gd name="connsiteY11" fmla="*/ 3609830 h 4890220"/>
                  <a:gd name="connsiteX12" fmla="*/ 3984859 w 3984859"/>
                  <a:gd name="connsiteY12" fmla="*/ 4884410 h 4890220"/>
                  <a:gd name="connsiteX13" fmla="*/ 2629207 w 3984859"/>
                  <a:gd name="connsiteY13" fmla="*/ 4890220 h 4890220"/>
                  <a:gd name="connsiteX14" fmla="*/ 2540951 w 3984859"/>
                  <a:gd name="connsiteY14" fmla="*/ 4686873 h 4890220"/>
                  <a:gd name="connsiteX15" fmla="*/ 1827129 w 3984859"/>
                  <a:gd name="connsiteY15" fmla="*/ 3632892 h 4890220"/>
                  <a:gd name="connsiteX16" fmla="*/ 1712027 w 3984859"/>
                  <a:gd name="connsiteY16" fmla="*/ 3564947 h 4890220"/>
                  <a:gd name="connsiteX17" fmla="*/ 1337243 w 3984859"/>
                  <a:gd name="connsiteY17" fmla="*/ 3532295 h 4890220"/>
                  <a:gd name="connsiteX18" fmla="*/ 615750 w 3984859"/>
                  <a:gd name="connsiteY18" fmla="*/ 3059888 h 4890220"/>
                  <a:gd name="connsiteX19" fmla="*/ 375385 w 3984859"/>
                  <a:gd name="connsiteY19" fmla="*/ 2006456 h 4890220"/>
                  <a:gd name="connsiteX20" fmla="*/ 221381 w 3984859"/>
                  <a:gd name="connsiteY20" fmla="*/ 1823576 h 4890220"/>
                  <a:gd name="connsiteX21" fmla="*/ 336884 w 3984859"/>
                  <a:gd name="connsiteY21" fmla="*/ 1197934 h 4890220"/>
                  <a:gd name="connsiteX22" fmla="*/ 0 w 3984859"/>
                  <a:gd name="connsiteY22" fmla="*/ 755172 h 4890220"/>
                  <a:gd name="connsiteX23" fmla="*/ 251725 w 3984859"/>
                  <a:gd name="connsiteY23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1804455 w 3984859"/>
                  <a:gd name="connsiteY8" fmla="*/ 2759857 h 4890220"/>
                  <a:gd name="connsiteX9" fmla="*/ 2444817 w 3984859"/>
                  <a:gd name="connsiteY9" fmla="*/ 2632099 h 4890220"/>
                  <a:gd name="connsiteX10" fmla="*/ 2813207 w 3984859"/>
                  <a:gd name="connsiteY10" fmla="*/ 3565251 h 4890220"/>
                  <a:gd name="connsiteX11" fmla="*/ 3186328 w 3984859"/>
                  <a:gd name="connsiteY11" fmla="*/ 3609830 h 4890220"/>
                  <a:gd name="connsiteX12" fmla="*/ 3984859 w 3984859"/>
                  <a:gd name="connsiteY12" fmla="*/ 4884410 h 4890220"/>
                  <a:gd name="connsiteX13" fmla="*/ 2629207 w 3984859"/>
                  <a:gd name="connsiteY13" fmla="*/ 4890220 h 4890220"/>
                  <a:gd name="connsiteX14" fmla="*/ 2540951 w 3984859"/>
                  <a:gd name="connsiteY14" fmla="*/ 4686873 h 4890220"/>
                  <a:gd name="connsiteX15" fmla="*/ 1827129 w 3984859"/>
                  <a:gd name="connsiteY15" fmla="*/ 3632892 h 4890220"/>
                  <a:gd name="connsiteX16" fmla="*/ 1712027 w 3984859"/>
                  <a:gd name="connsiteY16" fmla="*/ 3564947 h 4890220"/>
                  <a:gd name="connsiteX17" fmla="*/ 1337243 w 3984859"/>
                  <a:gd name="connsiteY17" fmla="*/ 3532295 h 4890220"/>
                  <a:gd name="connsiteX18" fmla="*/ 615750 w 3984859"/>
                  <a:gd name="connsiteY18" fmla="*/ 3059888 h 4890220"/>
                  <a:gd name="connsiteX19" fmla="*/ 375385 w 3984859"/>
                  <a:gd name="connsiteY19" fmla="*/ 2006456 h 4890220"/>
                  <a:gd name="connsiteX20" fmla="*/ 221381 w 3984859"/>
                  <a:gd name="connsiteY20" fmla="*/ 1823576 h 4890220"/>
                  <a:gd name="connsiteX21" fmla="*/ 336884 w 3984859"/>
                  <a:gd name="connsiteY21" fmla="*/ 1197934 h 4890220"/>
                  <a:gd name="connsiteX22" fmla="*/ 0 w 3984859"/>
                  <a:gd name="connsiteY22" fmla="*/ 755172 h 4890220"/>
                  <a:gd name="connsiteX23" fmla="*/ 251725 w 3984859"/>
                  <a:gd name="connsiteY23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1804455 w 3984859"/>
                  <a:gd name="connsiteY8" fmla="*/ 2759857 h 4890220"/>
                  <a:gd name="connsiteX9" fmla="*/ 2109049 w 3984859"/>
                  <a:gd name="connsiteY9" fmla="*/ 3002843 h 4890220"/>
                  <a:gd name="connsiteX10" fmla="*/ 2813207 w 3984859"/>
                  <a:gd name="connsiteY10" fmla="*/ 3565251 h 4890220"/>
                  <a:gd name="connsiteX11" fmla="*/ 3186328 w 3984859"/>
                  <a:gd name="connsiteY11" fmla="*/ 3609830 h 4890220"/>
                  <a:gd name="connsiteX12" fmla="*/ 3984859 w 3984859"/>
                  <a:gd name="connsiteY12" fmla="*/ 4884410 h 4890220"/>
                  <a:gd name="connsiteX13" fmla="*/ 2629207 w 3984859"/>
                  <a:gd name="connsiteY13" fmla="*/ 4890220 h 4890220"/>
                  <a:gd name="connsiteX14" fmla="*/ 2540951 w 3984859"/>
                  <a:gd name="connsiteY14" fmla="*/ 4686873 h 4890220"/>
                  <a:gd name="connsiteX15" fmla="*/ 1827129 w 3984859"/>
                  <a:gd name="connsiteY15" fmla="*/ 3632892 h 4890220"/>
                  <a:gd name="connsiteX16" fmla="*/ 1712027 w 3984859"/>
                  <a:gd name="connsiteY16" fmla="*/ 3564947 h 4890220"/>
                  <a:gd name="connsiteX17" fmla="*/ 1337243 w 3984859"/>
                  <a:gd name="connsiteY17" fmla="*/ 3532295 h 4890220"/>
                  <a:gd name="connsiteX18" fmla="*/ 615750 w 3984859"/>
                  <a:gd name="connsiteY18" fmla="*/ 3059888 h 4890220"/>
                  <a:gd name="connsiteX19" fmla="*/ 375385 w 3984859"/>
                  <a:gd name="connsiteY19" fmla="*/ 2006456 h 4890220"/>
                  <a:gd name="connsiteX20" fmla="*/ 221381 w 3984859"/>
                  <a:gd name="connsiteY20" fmla="*/ 1823576 h 4890220"/>
                  <a:gd name="connsiteX21" fmla="*/ 336884 w 3984859"/>
                  <a:gd name="connsiteY21" fmla="*/ 1197934 h 4890220"/>
                  <a:gd name="connsiteX22" fmla="*/ 0 w 3984859"/>
                  <a:gd name="connsiteY22" fmla="*/ 755172 h 4890220"/>
                  <a:gd name="connsiteX23" fmla="*/ 251725 w 3984859"/>
                  <a:gd name="connsiteY23" fmla="*/ 0 h 4890220"/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369127 w 3984859"/>
                  <a:gd name="connsiteY5" fmla="*/ 1818697 h 4890220"/>
                  <a:gd name="connsiteX6" fmla="*/ 1318327 w 3984859"/>
                  <a:gd name="connsiteY6" fmla="*/ 1949930 h 4890220"/>
                  <a:gd name="connsiteX7" fmla="*/ 1617044 w 3984859"/>
                  <a:gd name="connsiteY7" fmla="*/ 2401092 h 4890220"/>
                  <a:gd name="connsiteX8" fmla="*/ 1804455 w 3984859"/>
                  <a:gd name="connsiteY8" fmla="*/ 2759857 h 4890220"/>
                  <a:gd name="connsiteX9" fmla="*/ 2109049 w 3984859"/>
                  <a:gd name="connsiteY9" fmla="*/ 3002843 h 4890220"/>
                  <a:gd name="connsiteX10" fmla="*/ 2381884 w 3984859"/>
                  <a:gd name="connsiteY10" fmla="*/ 3434950 h 4890220"/>
                  <a:gd name="connsiteX11" fmla="*/ 2813207 w 3984859"/>
                  <a:gd name="connsiteY11" fmla="*/ 3565251 h 4890220"/>
                  <a:gd name="connsiteX12" fmla="*/ 3186328 w 3984859"/>
                  <a:gd name="connsiteY12" fmla="*/ 3609830 h 4890220"/>
                  <a:gd name="connsiteX13" fmla="*/ 3984859 w 3984859"/>
                  <a:gd name="connsiteY13" fmla="*/ 4884410 h 4890220"/>
                  <a:gd name="connsiteX14" fmla="*/ 2629207 w 3984859"/>
                  <a:gd name="connsiteY14" fmla="*/ 4890220 h 4890220"/>
                  <a:gd name="connsiteX15" fmla="*/ 2540951 w 3984859"/>
                  <a:gd name="connsiteY15" fmla="*/ 4686873 h 4890220"/>
                  <a:gd name="connsiteX16" fmla="*/ 1827129 w 3984859"/>
                  <a:gd name="connsiteY16" fmla="*/ 3632892 h 4890220"/>
                  <a:gd name="connsiteX17" fmla="*/ 1712027 w 3984859"/>
                  <a:gd name="connsiteY17" fmla="*/ 3564947 h 4890220"/>
                  <a:gd name="connsiteX18" fmla="*/ 1337243 w 3984859"/>
                  <a:gd name="connsiteY18" fmla="*/ 3532295 h 4890220"/>
                  <a:gd name="connsiteX19" fmla="*/ 615750 w 3984859"/>
                  <a:gd name="connsiteY19" fmla="*/ 3059888 h 4890220"/>
                  <a:gd name="connsiteX20" fmla="*/ 375385 w 3984859"/>
                  <a:gd name="connsiteY20" fmla="*/ 2006456 h 4890220"/>
                  <a:gd name="connsiteX21" fmla="*/ 221381 w 3984859"/>
                  <a:gd name="connsiteY21" fmla="*/ 1823576 h 4890220"/>
                  <a:gd name="connsiteX22" fmla="*/ 336884 w 3984859"/>
                  <a:gd name="connsiteY22" fmla="*/ 1197934 h 4890220"/>
                  <a:gd name="connsiteX23" fmla="*/ 0 w 3984859"/>
                  <a:gd name="connsiteY23" fmla="*/ 755172 h 4890220"/>
                  <a:gd name="connsiteX24" fmla="*/ 251725 w 3984859"/>
                  <a:gd name="connsiteY24" fmla="*/ 0 h 4890220"/>
                  <a:gd name="connsiteX0" fmla="*/ 606146 w 4339280"/>
                  <a:gd name="connsiteY0" fmla="*/ 0 h 4890220"/>
                  <a:gd name="connsiteX1" fmla="*/ 845310 w 4339280"/>
                  <a:gd name="connsiteY1" fmla="*/ 851425 h 4890220"/>
                  <a:gd name="connsiteX2" fmla="*/ 1162943 w 4339280"/>
                  <a:gd name="connsiteY2" fmla="*/ 1159433 h 4890220"/>
                  <a:gd name="connsiteX3" fmla="*/ 1442076 w 4339280"/>
                  <a:gd name="connsiteY3" fmla="*/ 1765825 h 4890220"/>
                  <a:gd name="connsiteX4" fmla="*/ 1711583 w 4339280"/>
                  <a:gd name="connsiteY4" fmla="*/ 1611821 h 4890220"/>
                  <a:gd name="connsiteX5" fmla="*/ 1723548 w 4339280"/>
                  <a:gd name="connsiteY5" fmla="*/ 1818697 h 4890220"/>
                  <a:gd name="connsiteX6" fmla="*/ 1672748 w 4339280"/>
                  <a:gd name="connsiteY6" fmla="*/ 1949930 h 4890220"/>
                  <a:gd name="connsiteX7" fmla="*/ 1971465 w 4339280"/>
                  <a:gd name="connsiteY7" fmla="*/ 2401092 h 4890220"/>
                  <a:gd name="connsiteX8" fmla="*/ 2158876 w 4339280"/>
                  <a:gd name="connsiteY8" fmla="*/ 2759857 h 4890220"/>
                  <a:gd name="connsiteX9" fmla="*/ 2463470 w 4339280"/>
                  <a:gd name="connsiteY9" fmla="*/ 3002843 h 4890220"/>
                  <a:gd name="connsiteX10" fmla="*/ 2736305 w 4339280"/>
                  <a:gd name="connsiteY10" fmla="*/ 3434950 h 4890220"/>
                  <a:gd name="connsiteX11" fmla="*/ 3167628 w 4339280"/>
                  <a:gd name="connsiteY11" fmla="*/ 3565251 h 4890220"/>
                  <a:gd name="connsiteX12" fmla="*/ 3540749 w 4339280"/>
                  <a:gd name="connsiteY12" fmla="*/ 3609830 h 4890220"/>
                  <a:gd name="connsiteX13" fmla="*/ 4339280 w 4339280"/>
                  <a:gd name="connsiteY13" fmla="*/ 4884410 h 4890220"/>
                  <a:gd name="connsiteX14" fmla="*/ 2983628 w 4339280"/>
                  <a:gd name="connsiteY14" fmla="*/ 4890220 h 4890220"/>
                  <a:gd name="connsiteX15" fmla="*/ 2895372 w 4339280"/>
                  <a:gd name="connsiteY15" fmla="*/ 4686873 h 4890220"/>
                  <a:gd name="connsiteX16" fmla="*/ 2181550 w 4339280"/>
                  <a:gd name="connsiteY16" fmla="*/ 3632892 h 4890220"/>
                  <a:gd name="connsiteX17" fmla="*/ 2066448 w 4339280"/>
                  <a:gd name="connsiteY17" fmla="*/ 3564947 h 4890220"/>
                  <a:gd name="connsiteX18" fmla="*/ 1691664 w 4339280"/>
                  <a:gd name="connsiteY18" fmla="*/ 3532295 h 4890220"/>
                  <a:gd name="connsiteX19" fmla="*/ 970171 w 4339280"/>
                  <a:gd name="connsiteY19" fmla="*/ 3059888 h 4890220"/>
                  <a:gd name="connsiteX20" fmla="*/ 729806 w 4339280"/>
                  <a:gd name="connsiteY20" fmla="*/ 2006456 h 4890220"/>
                  <a:gd name="connsiteX21" fmla="*/ 575802 w 4339280"/>
                  <a:gd name="connsiteY21" fmla="*/ 1823576 h 4890220"/>
                  <a:gd name="connsiteX22" fmla="*/ 691305 w 4339280"/>
                  <a:gd name="connsiteY22" fmla="*/ 1197934 h 4890220"/>
                  <a:gd name="connsiteX23" fmla="*/ 0 w 4339280"/>
                  <a:gd name="connsiteY23" fmla="*/ 1081613 h 4890220"/>
                  <a:gd name="connsiteX24" fmla="*/ 606146 w 4339280"/>
                  <a:gd name="connsiteY24" fmla="*/ 0 h 4890220"/>
                  <a:gd name="connsiteX0" fmla="*/ 606146 w 4339280"/>
                  <a:gd name="connsiteY0" fmla="*/ 0 h 4890220"/>
                  <a:gd name="connsiteX1" fmla="*/ 845310 w 4339280"/>
                  <a:gd name="connsiteY1" fmla="*/ 851425 h 4890220"/>
                  <a:gd name="connsiteX2" fmla="*/ 1162943 w 4339280"/>
                  <a:gd name="connsiteY2" fmla="*/ 1159433 h 4890220"/>
                  <a:gd name="connsiteX3" fmla="*/ 1442076 w 4339280"/>
                  <a:gd name="connsiteY3" fmla="*/ 1765825 h 4890220"/>
                  <a:gd name="connsiteX4" fmla="*/ 1711583 w 4339280"/>
                  <a:gd name="connsiteY4" fmla="*/ 1611821 h 4890220"/>
                  <a:gd name="connsiteX5" fmla="*/ 1723548 w 4339280"/>
                  <a:gd name="connsiteY5" fmla="*/ 1818697 h 4890220"/>
                  <a:gd name="connsiteX6" fmla="*/ 1672748 w 4339280"/>
                  <a:gd name="connsiteY6" fmla="*/ 1949930 h 4890220"/>
                  <a:gd name="connsiteX7" fmla="*/ 1971465 w 4339280"/>
                  <a:gd name="connsiteY7" fmla="*/ 2401092 h 4890220"/>
                  <a:gd name="connsiteX8" fmla="*/ 2158876 w 4339280"/>
                  <a:gd name="connsiteY8" fmla="*/ 2759857 h 4890220"/>
                  <a:gd name="connsiteX9" fmla="*/ 2463470 w 4339280"/>
                  <a:gd name="connsiteY9" fmla="*/ 3002843 h 4890220"/>
                  <a:gd name="connsiteX10" fmla="*/ 2736305 w 4339280"/>
                  <a:gd name="connsiteY10" fmla="*/ 3434950 h 4890220"/>
                  <a:gd name="connsiteX11" fmla="*/ 3167628 w 4339280"/>
                  <a:gd name="connsiteY11" fmla="*/ 3565251 h 4890220"/>
                  <a:gd name="connsiteX12" fmla="*/ 3540749 w 4339280"/>
                  <a:gd name="connsiteY12" fmla="*/ 3609830 h 4890220"/>
                  <a:gd name="connsiteX13" fmla="*/ 4339280 w 4339280"/>
                  <a:gd name="connsiteY13" fmla="*/ 4884410 h 4890220"/>
                  <a:gd name="connsiteX14" fmla="*/ 2983628 w 4339280"/>
                  <a:gd name="connsiteY14" fmla="*/ 4890220 h 4890220"/>
                  <a:gd name="connsiteX15" fmla="*/ 2895372 w 4339280"/>
                  <a:gd name="connsiteY15" fmla="*/ 4686873 h 4890220"/>
                  <a:gd name="connsiteX16" fmla="*/ 2181550 w 4339280"/>
                  <a:gd name="connsiteY16" fmla="*/ 3632892 h 4890220"/>
                  <a:gd name="connsiteX17" fmla="*/ 2066448 w 4339280"/>
                  <a:gd name="connsiteY17" fmla="*/ 3564947 h 4890220"/>
                  <a:gd name="connsiteX18" fmla="*/ 1691664 w 4339280"/>
                  <a:gd name="connsiteY18" fmla="*/ 3532295 h 4890220"/>
                  <a:gd name="connsiteX19" fmla="*/ 970171 w 4339280"/>
                  <a:gd name="connsiteY19" fmla="*/ 3059888 h 4890220"/>
                  <a:gd name="connsiteX20" fmla="*/ 729806 w 4339280"/>
                  <a:gd name="connsiteY20" fmla="*/ 2006456 h 4890220"/>
                  <a:gd name="connsiteX21" fmla="*/ 575802 w 4339280"/>
                  <a:gd name="connsiteY21" fmla="*/ 1823576 h 4890220"/>
                  <a:gd name="connsiteX22" fmla="*/ 243615 w 4339280"/>
                  <a:gd name="connsiteY22" fmla="*/ 1365818 h 4890220"/>
                  <a:gd name="connsiteX23" fmla="*/ 0 w 4339280"/>
                  <a:gd name="connsiteY23" fmla="*/ 1081613 h 4890220"/>
                  <a:gd name="connsiteX24" fmla="*/ 606146 w 4339280"/>
                  <a:gd name="connsiteY24" fmla="*/ 0 h 4890220"/>
                  <a:gd name="connsiteX0" fmla="*/ 568838 w 4301972"/>
                  <a:gd name="connsiteY0" fmla="*/ 0 h 4890220"/>
                  <a:gd name="connsiteX1" fmla="*/ 808002 w 4301972"/>
                  <a:gd name="connsiteY1" fmla="*/ 851425 h 4890220"/>
                  <a:gd name="connsiteX2" fmla="*/ 1125635 w 4301972"/>
                  <a:gd name="connsiteY2" fmla="*/ 1159433 h 4890220"/>
                  <a:gd name="connsiteX3" fmla="*/ 1404768 w 4301972"/>
                  <a:gd name="connsiteY3" fmla="*/ 1765825 h 4890220"/>
                  <a:gd name="connsiteX4" fmla="*/ 1674275 w 4301972"/>
                  <a:gd name="connsiteY4" fmla="*/ 1611821 h 4890220"/>
                  <a:gd name="connsiteX5" fmla="*/ 1686240 w 4301972"/>
                  <a:gd name="connsiteY5" fmla="*/ 1818697 h 4890220"/>
                  <a:gd name="connsiteX6" fmla="*/ 1635440 w 4301972"/>
                  <a:gd name="connsiteY6" fmla="*/ 1949930 h 4890220"/>
                  <a:gd name="connsiteX7" fmla="*/ 1934157 w 4301972"/>
                  <a:gd name="connsiteY7" fmla="*/ 2401092 h 4890220"/>
                  <a:gd name="connsiteX8" fmla="*/ 2121568 w 4301972"/>
                  <a:gd name="connsiteY8" fmla="*/ 2759857 h 4890220"/>
                  <a:gd name="connsiteX9" fmla="*/ 2426162 w 4301972"/>
                  <a:gd name="connsiteY9" fmla="*/ 3002843 h 4890220"/>
                  <a:gd name="connsiteX10" fmla="*/ 2698997 w 4301972"/>
                  <a:gd name="connsiteY10" fmla="*/ 3434950 h 4890220"/>
                  <a:gd name="connsiteX11" fmla="*/ 3130320 w 4301972"/>
                  <a:gd name="connsiteY11" fmla="*/ 3565251 h 4890220"/>
                  <a:gd name="connsiteX12" fmla="*/ 3503441 w 4301972"/>
                  <a:gd name="connsiteY12" fmla="*/ 3609830 h 4890220"/>
                  <a:gd name="connsiteX13" fmla="*/ 4301972 w 4301972"/>
                  <a:gd name="connsiteY13" fmla="*/ 4884410 h 4890220"/>
                  <a:gd name="connsiteX14" fmla="*/ 2946320 w 4301972"/>
                  <a:gd name="connsiteY14" fmla="*/ 4890220 h 4890220"/>
                  <a:gd name="connsiteX15" fmla="*/ 2858064 w 4301972"/>
                  <a:gd name="connsiteY15" fmla="*/ 4686873 h 4890220"/>
                  <a:gd name="connsiteX16" fmla="*/ 2144242 w 4301972"/>
                  <a:gd name="connsiteY16" fmla="*/ 3632892 h 4890220"/>
                  <a:gd name="connsiteX17" fmla="*/ 2029140 w 4301972"/>
                  <a:gd name="connsiteY17" fmla="*/ 3564947 h 4890220"/>
                  <a:gd name="connsiteX18" fmla="*/ 1654356 w 4301972"/>
                  <a:gd name="connsiteY18" fmla="*/ 3532295 h 4890220"/>
                  <a:gd name="connsiteX19" fmla="*/ 932863 w 4301972"/>
                  <a:gd name="connsiteY19" fmla="*/ 3059888 h 4890220"/>
                  <a:gd name="connsiteX20" fmla="*/ 692498 w 4301972"/>
                  <a:gd name="connsiteY20" fmla="*/ 2006456 h 4890220"/>
                  <a:gd name="connsiteX21" fmla="*/ 538494 w 4301972"/>
                  <a:gd name="connsiteY21" fmla="*/ 1823576 h 4890220"/>
                  <a:gd name="connsiteX22" fmla="*/ 206307 w 4301972"/>
                  <a:gd name="connsiteY22" fmla="*/ 1365818 h 4890220"/>
                  <a:gd name="connsiteX23" fmla="*/ 0 w 4301972"/>
                  <a:gd name="connsiteY23" fmla="*/ 1062960 h 4890220"/>
                  <a:gd name="connsiteX24" fmla="*/ 568838 w 4301972"/>
                  <a:gd name="connsiteY24" fmla="*/ 0 h 4890220"/>
                  <a:gd name="connsiteX0" fmla="*/ 568838 w 4301972"/>
                  <a:gd name="connsiteY0" fmla="*/ 0 h 4890220"/>
                  <a:gd name="connsiteX1" fmla="*/ 808002 w 4301972"/>
                  <a:gd name="connsiteY1" fmla="*/ 851425 h 4890220"/>
                  <a:gd name="connsiteX2" fmla="*/ 1125635 w 4301972"/>
                  <a:gd name="connsiteY2" fmla="*/ 1159433 h 4890220"/>
                  <a:gd name="connsiteX3" fmla="*/ 1404768 w 4301972"/>
                  <a:gd name="connsiteY3" fmla="*/ 1765825 h 4890220"/>
                  <a:gd name="connsiteX4" fmla="*/ 1674275 w 4301972"/>
                  <a:gd name="connsiteY4" fmla="*/ 1611821 h 4890220"/>
                  <a:gd name="connsiteX5" fmla="*/ 1686240 w 4301972"/>
                  <a:gd name="connsiteY5" fmla="*/ 1818697 h 4890220"/>
                  <a:gd name="connsiteX6" fmla="*/ 1635440 w 4301972"/>
                  <a:gd name="connsiteY6" fmla="*/ 1949930 h 4890220"/>
                  <a:gd name="connsiteX7" fmla="*/ 1934157 w 4301972"/>
                  <a:gd name="connsiteY7" fmla="*/ 2401092 h 4890220"/>
                  <a:gd name="connsiteX8" fmla="*/ 2121568 w 4301972"/>
                  <a:gd name="connsiteY8" fmla="*/ 2759857 h 4890220"/>
                  <a:gd name="connsiteX9" fmla="*/ 2426162 w 4301972"/>
                  <a:gd name="connsiteY9" fmla="*/ 3002843 h 4890220"/>
                  <a:gd name="connsiteX10" fmla="*/ 2698997 w 4301972"/>
                  <a:gd name="connsiteY10" fmla="*/ 3434950 h 4890220"/>
                  <a:gd name="connsiteX11" fmla="*/ 3130320 w 4301972"/>
                  <a:gd name="connsiteY11" fmla="*/ 3565251 h 4890220"/>
                  <a:gd name="connsiteX12" fmla="*/ 3503441 w 4301972"/>
                  <a:gd name="connsiteY12" fmla="*/ 3609830 h 4890220"/>
                  <a:gd name="connsiteX13" fmla="*/ 4301972 w 4301972"/>
                  <a:gd name="connsiteY13" fmla="*/ 4884410 h 4890220"/>
                  <a:gd name="connsiteX14" fmla="*/ 2946320 w 4301972"/>
                  <a:gd name="connsiteY14" fmla="*/ 4890220 h 4890220"/>
                  <a:gd name="connsiteX15" fmla="*/ 2858064 w 4301972"/>
                  <a:gd name="connsiteY15" fmla="*/ 4686873 h 4890220"/>
                  <a:gd name="connsiteX16" fmla="*/ 2144242 w 4301972"/>
                  <a:gd name="connsiteY16" fmla="*/ 3632892 h 4890220"/>
                  <a:gd name="connsiteX17" fmla="*/ 2029140 w 4301972"/>
                  <a:gd name="connsiteY17" fmla="*/ 3564947 h 4890220"/>
                  <a:gd name="connsiteX18" fmla="*/ 1654356 w 4301972"/>
                  <a:gd name="connsiteY18" fmla="*/ 3532295 h 4890220"/>
                  <a:gd name="connsiteX19" fmla="*/ 932863 w 4301972"/>
                  <a:gd name="connsiteY19" fmla="*/ 3059888 h 4890220"/>
                  <a:gd name="connsiteX20" fmla="*/ 1350044 w 4301972"/>
                  <a:gd name="connsiteY20" fmla="*/ 1866553 h 4890220"/>
                  <a:gd name="connsiteX21" fmla="*/ 538494 w 4301972"/>
                  <a:gd name="connsiteY21" fmla="*/ 1823576 h 4890220"/>
                  <a:gd name="connsiteX22" fmla="*/ 206307 w 4301972"/>
                  <a:gd name="connsiteY22" fmla="*/ 1365818 h 4890220"/>
                  <a:gd name="connsiteX23" fmla="*/ 0 w 4301972"/>
                  <a:gd name="connsiteY23" fmla="*/ 1062960 h 4890220"/>
                  <a:gd name="connsiteX24" fmla="*/ 568838 w 4301972"/>
                  <a:gd name="connsiteY24" fmla="*/ 0 h 4890220"/>
                  <a:gd name="connsiteX0" fmla="*/ 568838 w 4301972"/>
                  <a:gd name="connsiteY0" fmla="*/ 0 h 4890220"/>
                  <a:gd name="connsiteX1" fmla="*/ 808002 w 4301972"/>
                  <a:gd name="connsiteY1" fmla="*/ 851425 h 4890220"/>
                  <a:gd name="connsiteX2" fmla="*/ 1125635 w 4301972"/>
                  <a:gd name="connsiteY2" fmla="*/ 1159433 h 4890220"/>
                  <a:gd name="connsiteX3" fmla="*/ 1404768 w 4301972"/>
                  <a:gd name="connsiteY3" fmla="*/ 1765825 h 4890220"/>
                  <a:gd name="connsiteX4" fmla="*/ 1674275 w 4301972"/>
                  <a:gd name="connsiteY4" fmla="*/ 1611821 h 4890220"/>
                  <a:gd name="connsiteX5" fmla="*/ 1686240 w 4301972"/>
                  <a:gd name="connsiteY5" fmla="*/ 1818697 h 4890220"/>
                  <a:gd name="connsiteX6" fmla="*/ 1635440 w 4301972"/>
                  <a:gd name="connsiteY6" fmla="*/ 1949930 h 4890220"/>
                  <a:gd name="connsiteX7" fmla="*/ 1934157 w 4301972"/>
                  <a:gd name="connsiteY7" fmla="*/ 2401092 h 4890220"/>
                  <a:gd name="connsiteX8" fmla="*/ 2121568 w 4301972"/>
                  <a:gd name="connsiteY8" fmla="*/ 2759857 h 4890220"/>
                  <a:gd name="connsiteX9" fmla="*/ 2426162 w 4301972"/>
                  <a:gd name="connsiteY9" fmla="*/ 3002843 h 4890220"/>
                  <a:gd name="connsiteX10" fmla="*/ 2698997 w 4301972"/>
                  <a:gd name="connsiteY10" fmla="*/ 3434950 h 4890220"/>
                  <a:gd name="connsiteX11" fmla="*/ 3130320 w 4301972"/>
                  <a:gd name="connsiteY11" fmla="*/ 3565251 h 4890220"/>
                  <a:gd name="connsiteX12" fmla="*/ 3503441 w 4301972"/>
                  <a:gd name="connsiteY12" fmla="*/ 3609830 h 4890220"/>
                  <a:gd name="connsiteX13" fmla="*/ 4301972 w 4301972"/>
                  <a:gd name="connsiteY13" fmla="*/ 4884410 h 4890220"/>
                  <a:gd name="connsiteX14" fmla="*/ 2946320 w 4301972"/>
                  <a:gd name="connsiteY14" fmla="*/ 4890220 h 4890220"/>
                  <a:gd name="connsiteX15" fmla="*/ 2858064 w 4301972"/>
                  <a:gd name="connsiteY15" fmla="*/ 4686873 h 4890220"/>
                  <a:gd name="connsiteX16" fmla="*/ 2144242 w 4301972"/>
                  <a:gd name="connsiteY16" fmla="*/ 3632892 h 4890220"/>
                  <a:gd name="connsiteX17" fmla="*/ 2029140 w 4301972"/>
                  <a:gd name="connsiteY17" fmla="*/ 3564947 h 4890220"/>
                  <a:gd name="connsiteX18" fmla="*/ 1654356 w 4301972"/>
                  <a:gd name="connsiteY18" fmla="*/ 3532295 h 4890220"/>
                  <a:gd name="connsiteX19" fmla="*/ 932863 w 4301972"/>
                  <a:gd name="connsiteY19" fmla="*/ 3059888 h 4890220"/>
                  <a:gd name="connsiteX20" fmla="*/ 1350044 w 4301972"/>
                  <a:gd name="connsiteY20" fmla="*/ 1866553 h 4890220"/>
                  <a:gd name="connsiteX21" fmla="*/ 538494 w 4301972"/>
                  <a:gd name="connsiteY21" fmla="*/ 1823576 h 4890220"/>
                  <a:gd name="connsiteX22" fmla="*/ 842867 w 4301972"/>
                  <a:gd name="connsiteY22" fmla="*/ 1379809 h 4890220"/>
                  <a:gd name="connsiteX23" fmla="*/ 0 w 4301972"/>
                  <a:gd name="connsiteY23" fmla="*/ 1062960 h 4890220"/>
                  <a:gd name="connsiteX24" fmla="*/ 568838 w 4301972"/>
                  <a:gd name="connsiteY24" fmla="*/ 0 h 4890220"/>
                  <a:gd name="connsiteX0" fmla="*/ 568838 w 4301972"/>
                  <a:gd name="connsiteY0" fmla="*/ 0 h 4890220"/>
                  <a:gd name="connsiteX1" fmla="*/ 808002 w 4301972"/>
                  <a:gd name="connsiteY1" fmla="*/ 851425 h 4890220"/>
                  <a:gd name="connsiteX2" fmla="*/ 1125635 w 4301972"/>
                  <a:gd name="connsiteY2" fmla="*/ 1159433 h 4890220"/>
                  <a:gd name="connsiteX3" fmla="*/ 1404768 w 4301972"/>
                  <a:gd name="connsiteY3" fmla="*/ 1765825 h 4890220"/>
                  <a:gd name="connsiteX4" fmla="*/ 1674275 w 4301972"/>
                  <a:gd name="connsiteY4" fmla="*/ 1611821 h 4890220"/>
                  <a:gd name="connsiteX5" fmla="*/ 1686240 w 4301972"/>
                  <a:gd name="connsiteY5" fmla="*/ 1818697 h 4890220"/>
                  <a:gd name="connsiteX6" fmla="*/ 1635440 w 4301972"/>
                  <a:gd name="connsiteY6" fmla="*/ 1949930 h 4890220"/>
                  <a:gd name="connsiteX7" fmla="*/ 1934157 w 4301972"/>
                  <a:gd name="connsiteY7" fmla="*/ 2401092 h 4890220"/>
                  <a:gd name="connsiteX8" fmla="*/ 2121568 w 4301972"/>
                  <a:gd name="connsiteY8" fmla="*/ 2759857 h 4890220"/>
                  <a:gd name="connsiteX9" fmla="*/ 2426162 w 4301972"/>
                  <a:gd name="connsiteY9" fmla="*/ 3002843 h 4890220"/>
                  <a:gd name="connsiteX10" fmla="*/ 2698997 w 4301972"/>
                  <a:gd name="connsiteY10" fmla="*/ 3434950 h 4890220"/>
                  <a:gd name="connsiteX11" fmla="*/ 3130320 w 4301972"/>
                  <a:gd name="connsiteY11" fmla="*/ 3565251 h 4890220"/>
                  <a:gd name="connsiteX12" fmla="*/ 3503441 w 4301972"/>
                  <a:gd name="connsiteY12" fmla="*/ 3609830 h 4890220"/>
                  <a:gd name="connsiteX13" fmla="*/ 4301972 w 4301972"/>
                  <a:gd name="connsiteY13" fmla="*/ 4884410 h 4890220"/>
                  <a:gd name="connsiteX14" fmla="*/ 2946320 w 4301972"/>
                  <a:gd name="connsiteY14" fmla="*/ 4890220 h 4890220"/>
                  <a:gd name="connsiteX15" fmla="*/ 2858064 w 4301972"/>
                  <a:gd name="connsiteY15" fmla="*/ 4686873 h 4890220"/>
                  <a:gd name="connsiteX16" fmla="*/ 2144242 w 4301972"/>
                  <a:gd name="connsiteY16" fmla="*/ 3632892 h 4890220"/>
                  <a:gd name="connsiteX17" fmla="*/ 2029140 w 4301972"/>
                  <a:gd name="connsiteY17" fmla="*/ 3564947 h 4890220"/>
                  <a:gd name="connsiteX18" fmla="*/ 1654356 w 4301972"/>
                  <a:gd name="connsiteY18" fmla="*/ 3532295 h 4890220"/>
                  <a:gd name="connsiteX19" fmla="*/ 932863 w 4301972"/>
                  <a:gd name="connsiteY19" fmla="*/ 3059888 h 4890220"/>
                  <a:gd name="connsiteX20" fmla="*/ 1350044 w 4301972"/>
                  <a:gd name="connsiteY20" fmla="*/ 1866553 h 4890220"/>
                  <a:gd name="connsiteX21" fmla="*/ 1105103 w 4301972"/>
                  <a:gd name="connsiteY21" fmla="*/ 1592736 h 4890220"/>
                  <a:gd name="connsiteX22" fmla="*/ 842867 w 4301972"/>
                  <a:gd name="connsiteY22" fmla="*/ 1379809 h 4890220"/>
                  <a:gd name="connsiteX23" fmla="*/ 0 w 4301972"/>
                  <a:gd name="connsiteY23" fmla="*/ 1062960 h 4890220"/>
                  <a:gd name="connsiteX24" fmla="*/ 568838 w 4301972"/>
                  <a:gd name="connsiteY24" fmla="*/ 0 h 4890220"/>
                  <a:gd name="connsiteX0" fmla="*/ 1524669 w 5257803"/>
                  <a:gd name="connsiteY0" fmla="*/ 0 h 4890220"/>
                  <a:gd name="connsiteX1" fmla="*/ 1763833 w 5257803"/>
                  <a:gd name="connsiteY1" fmla="*/ 851425 h 4890220"/>
                  <a:gd name="connsiteX2" fmla="*/ 2081466 w 5257803"/>
                  <a:gd name="connsiteY2" fmla="*/ 1159433 h 4890220"/>
                  <a:gd name="connsiteX3" fmla="*/ 2360599 w 5257803"/>
                  <a:gd name="connsiteY3" fmla="*/ 1765825 h 4890220"/>
                  <a:gd name="connsiteX4" fmla="*/ 2630106 w 5257803"/>
                  <a:gd name="connsiteY4" fmla="*/ 1611821 h 4890220"/>
                  <a:gd name="connsiteX5" fmla="*/ 2642071 w 5257803"/>
                  <a:gd name="connsiteY5" fmla="*/ 1818697 h 4890220"/>
                  <a:gd name="connsiteX6" fmla="*/ 2591271 w 5257803"/>
                  <a:gd name="connsiteY6" fmla="*/ 1949930 h 4890220"/>
                  <a:gd name="connsiteX7" fmla="*/ 2889988 w 5257803"/>
                  <a:gd name="connsiteY7" fmla="*/ 2401092 h 4890220"/>
                  <a:gd name="connsiteX8" fmla="*/ 3077399 w 5257803"/>
                  <a:gd name="connsiteY8" fmla="*/ 2759857 h 4890220"/>
                  <a:gd name="connsiteX9" fmla="*/ 3381993 w 5257803"/>
                  <a:gd name="connsiteY9" fmla="*/ 3002843 h 4890220"/>
                  <a:gd name="connsiteX10" fmla="*/ 3654828 w 5257803"/>
                  <a:gd name="connsiteY10" fmla="*/ 3434950 h 4890220"/>
                  <a:gd name="connsiteX11" fmla="*/ 4086151 w 5257803"/>
                  <a:gd name="connsiteY11" fmla="*/ 3565251 h 4890220"/>
                  <a:gd name="connsiteX12" fmla="*/ 4459272 w 5257803"/>
                  <a:gd name="connsiteY12" fmla="*/ 3609830 h 4890220"/>
                  <a:gd name="connsiteX13" fmla="*/ 5257803 w 5257803"/>
                  <a:gd name="connsiteY13" fmla="*/ 4884410 h 4890220"/>
                  <a:gd name="connsiteX14" fmla="*/ 3902151 w 5257803"/>
                  <a:gd name="connsiteY14" fmla="*/ 4890220 h 4890220"/>
                  <a:gd name="connsiteX15" fmla="*/ 3813895 w 5257803"/>
                  <a:gd name="connsiteY15" fmla="*/ 4686873 h 4890220"/>
                  <a:gd name="connsiteX16" fmla="*/ 3100073 w 5257803"/>
                  <a:gd name="connsiteY16" fmla="*/ 3632892 h 4890220"/>
                  <a:gd name="connsiteX17" fmla="*/ 2984971 w 5257803"/>
                  <a:gd name="connsiteY17" fmla="*/ 3564947 h 4890220"/>
                  <a:gd name="connsiteX18" fmla="*/ 2610187 w 5257803"/>
                  <a:gd name="connsiteY18" fmla="*/ 3532295 h 4890220"/>
                  <a:gd name="connsiteX19" fmla="*/ 0 w 5257803"/>
                  <a:gd name="connsiteY19" fmla="*/ 3108855 h 4890220"/>
                  <a:gd name="connsiteX20" fmla="*/ 2305875 w 5257803"/>
                  <a:gd name="connsiteY20" fmla="*/ 1866553 h 4890220"/>
                  <a:gd name="connsiteX21" fmla="*/ 2060934 w 5257803"/>
                  <a:gd name="connsiteY21" fmla="*/ 1592736 h 4890220"/>
                  <a:gd name="connsiteX22" fmla="*/ 1798698 w 5257803"/>
                  <a:gd name="connsiteY22" fmla="*/ 1379809 h 4890220"/>
                  <a:gd name="connsiteX23" fmla="*/ 955831 w 5257803"/>
                  <a:gd name="connsiteY23" fmla="*/ 1062960 h 4890220"/>
                  <a:gd name="connsiteX24" fmla="*/ 1524669 w 5257803"/>
                  <a:gd name="connsiteY24" fmla="*/ 0 h 4890220"/>
                  <a:gd name="connsiteX0" fmla="*/ 1524669 w 5257803"/>
                  <a:gd name="connsiteY0" fmla="*/ 0 h 4890220"/>
                  <a:gd name="connsiteX1" fmla="*/ 1763833 w 5257803"/>
                  <a:gd name="connsiteY1" fmla="*/ 851425 h 4890220"/>
                  <a:gd name="connsiteX2" fmla="*/ 2081466 w 5257803"/>
                  <a:gd name="connsiteY2" fmla="*/ 1159433 h 4890220"/>
                  <a:gd name="connsiteX3" fmla="*/ 2360599 w 5257803"/>
                  <a:gd name="connsiteY3" fmla="*/ 1765825 h 4890220"/>
                  <a:gd name="connsiteX4" fmla="*/ 2630106 w 5257803"/>
                  <a:gd name="connsiteY4" fmla="*/ 1611821 h 4890220"/>
                  <a:gd name="connsiteX5" fmla="*/ 2642071 w 5257803"/>
                  <a:gd name="connsiteY5" fmla="*/ 1818697 h 4890220"/>
                  <a:gd name="connsiteX6" fmla="*/ 2591271 w 5257803"/>
                  <a:gd name="connsiteY6" fmla="*/ 1949930 h 4890220"/>
                  <a:gd name="connsiteX7" fmla="*/ 2889988 w 5257803"/>
                  <a:gd name="connsiteY7" fmla="*/ 2401092 h 4890220"/>
                  <a:gd name="connsiteX8" fmla="*/ 3077399 w 5257803"/>
                  <a:gd name="connsiteY8" fmla="*/ 2759857 h 4890220"/>
                  <a:gd name="connsiteX9" fmla="*/ 3381993 w 5257803"/>
                  <a:gd name="connsiteY9" fmla="*/ 3002843 h 4890220"/>
                  <a:gd name="connsiteX10" fmla="*/ 3654828 w 5257803"/>
                  <a:gd name="connsiteY10" fmla="*/ 3434950 h 4890220"/>
                  <a:gd name="connsiteX11" fmla="*/ 4086151 w 5257803"/>
                  <a:gd name="connsiteY11" fmla="*/ 3565251 h 4890220"/>
                  <a:gd name="connsiteX12" fmla="*/ 4459272 w 5257803"/>
                  <a:gd name="connsiteY12" fmla="*/ 3609830 h 4890220"/>
                  <a:gd name="connsiteX13" fmla="*/ 5257803 w 5257803"/>
                  <a:gd name="connsiteY13" fmla="*/ 4884410 h 4890220"/>
                  <a:gd name="connsiteX14" fmla="*/ 3902151 w 5257803"/>
                  <a:gd name="connsiteY14" fmla="*/ 4890220 h 4890220"/>
                  <a:gd name="connsiteX15" fmla="*/ 3813895 w 5257803"/>
                  <a:gd name="connsiteY15" fmla="*/ 4686873 h 4890220"/>
                  <a:gd name="connsiteX16" fmla="*/ 3100073 w 5257803"/>
                  <a:gd name="connsiteY16" fmla="*/ 3632892 h 4890220"/>
                  <a:gd name="connsiteX17" fmla="*/ 2984971 w 5257803"/>
                  <a:gd name="connsiteY17" fmla="*/ 3564947 h 4890220"/>
                  <a:gd name="connsiteX18" fmla="*/ 1211155 w 5257803"/>
                  <a:gd name="connsiteY18" fmla="*/ 3595252 h 4890220"/>
                  <a:gd name="connsiteX19" fmla="*/ 0 w 5257803"/>
                  <a:gd name="connsiteY19" fmla="*/ 3108855 h 4890220"/>
                  <a:gd name="connsiteX20" fmla="*/ 2305875 w 5257803"/>
                  <a:gd name="connsiteY20" fmla="*/ 1866553 h 4890220"/>
                  <a:gd name="connsiteX21" fmla="*/ 2060934 w 5257803"/>
                  <a:gd name="connsiteY21" fmla="*/ 1592736 h 4890220"/>
                  <a:gd name="connsiteX22" fmla="*/ 1798698 w 5257803"/>
                  <a:gd name="connsiteY22" fmla="*/ 1379809 h 4890220"/>
                  <a:gd name="connsiteX23" fmla="*/ 955831 w 5257803"/>
                  <a:gd name="connsiteY23" fmla="*/ 1062960 h 4890220"/>
                  <a:gd name="connsiteX24" fmla="*/ 1524669 w 5257803"/>
                  <a:gd name="connsiteY24" fmla="*/ 0 h 4890220"/>
                  <a:gd name="connsiteX0" fmla="*/ 1524669 w 5257803"/>
                  <a:gd name="connsiteY0" fmla="*/ 0 h 4890220"/>
                  <a:gd name="connsiteX1" fmla="*/ 1763833 w 5257803"/>
                  <a:gd name="connsiteY1" fmla="*/ 851425 h 4890220"/>
                  <a:gd name="connsiteX2" fmla="*/ 2081466 w 5257803"/>
                  <a:gd name="connsiteY2" fmla="*/ 1159433 h 4890220"/>
                  <a:gd name="connsiteX3" fmla="*/ 2360599 w 5257803"/>
                  <a:gd name="connsiteY3" fmla="*/ 1765825 h 4890220"/>
                  <a:gd name="connsiteX4" fmla="*/ 2630106 w 5257803"/>
                  <a:gd name="connsiteY4" fmla="*/ 1611821 h 4890220"/>
                  <a:gd name="connsiteX5" fmla="*/ 2642071 w 5257803"/>
                  <a:gd name="connsiteY5" fmla="*/ 1818697 h 4890220"/>
                  <a:gd name="connsiteX6" fmla="*/ 2591271 w 5257803"/>
                  <a:gd name="connsiteY6" fmla="*/ 1949930 h 4890220"/>
                  <a:gd name="connsiteX7" fmla="*/ 2889988 w 5257803"/>
                  <a:gd name="connsiteY7" fmla="*/ 2401092 h 4890220"/>
                  <a:gd name="connsiteX8" fmla="*/ 3077399 w 5257803"/>
                  <a:gd name="connsiteY8" fmla="*/ 2759857 h 4890220"/>
                  <a:gd name="connsiteX9" fmla="*/ 3381993 w 5257803"/>
                  <a:gd name="connsiteY9" fmla="*/ 3002843 h 4890220"/>
                  <a:gd name="connsiteX10" fmla="*/ 3654828 w 5257803"/>
                  <a:gd name="connsiteY10" fmla="*/ 3434950 h 4890220"/>
                  <a:gd name="connsiteX11" fmla="*/ 4086151 w 5257803"/>
                  <a:gd name="connsiteY11" fmla="*/ 3565251 h 4890220"/>
                  <a:gd name="connsiteX12" fmla="*/ 4459272 w 5257803"/>
                  <a:gd name="connsiteY12" fmla="*/ 3609830 h 4890220"/>
                  <a:gd name="connsiteX13" fmla="*/ 5257803 w 5257803"/>
                  <a:gd name="connsiteY13" fmla="*/ 4884410 h 4890220"/>
                  <a:gd name="connsiteX14" fmla="*/ 3902151 w 5257803"/>
                  <a:gd name="connsiteY14" fmla="*/ 4890220 h 4890220"/>
                  <a:gd name="connsiteX15" fmla="*/ 3813895 w 5257803"/>
                  <a:gd name="connsiteY15" fmla="*/ 4686873 h 4890220"/>
                  <a:gd name="connsiteX16" fmla="*/ 3100073 w 5257803"/>
                  <a:gd name="connsiteY16" fmla="*/ 3632892 h 4890220"/>
                  <a:gd name="connsiteX17" fmla="*/ 2656198 w 5257803"/>
                  <a:gd name="connsiteY17" fmla="*/ 3949681 h 4890220"/>
                  <a:gd name="connsiteX18" fmla="*/ 1211155 w 5257803"/>
                  <a:gd name="connsiteY18" fmla="*/ 3595252 h 4890220"/>
                  <a:gd name="connsiteX19" fmla="*/ 0 w 5257803"/>
                  <a:gd name="connsiteY19" fmla="*/ 3108855 h 4890220"/>
                  <a:gd name="connsiteX20" fmla="*/ 2305875 w 5257803"/>
                  <a:gd name="connsiteY20" fmla="*/ 1866553 h 4890220"/>
                  <a:gd name="connsiteX21" fmla="*/ 2060934 w 5257803"/>
                  <a:gd name="connsiteY21" fmla="*/ 1592736 h 4890220"/>
                  <a:gd name="connsiteX22" fmla="*/ 1798698 w 5257803"/>
                  <a:gd name="connsiteY22" fmla="*/ 1379809 h 4890220"/>
                  <a:gd name="connsiteX23" fmla="*/ 955831 w 5257803"/>
                  <a:gd name="connsiteY23" fmla="*/ 1062960 h 4890220"/>
                  <a:gd name="connsiteX24" fmla="*/ 1524669 w 5257803"/>
                  <a:gd name="connsiteY24" fmla="*/ 0 h 4890220"/>
                  <a:gd name="connsiteX0" fmla="*/ 1524669 w 5257803"/>
                  <a:gd name="connsiteY0" fmla="*/ 0 h 4890220"/>
                  <a:gd name="connsiteX1" fmla="*/ 1763833 w 5257803"/>
                  <a:gd name="connsiteY1" fmla="*/ 851425 h 4890220"/>
                  <a:gd name="connsiteX2" fmla="*/ 2081466 w 5257803"/>
                  <a:gd name="connsiteY2" fmla="*/ 1159433 h 4890220"/>
                  <a:gd name="connsiteX3" fmla="*/ 2360599 w 5257803"/>
                  <a:gd name="connsiteY3" fmla="*/ 1765825 h 4890220"/>
                  <a:gd name="connsiteX4" fmla="*/ 2630106 w 5257803"/>
                  <a:gd name="connsiteY4" fmla="*/ 1611821 h 4890220"/>
                  <a:gd name="connsiteX5" fmla="*/ 2642071 w 5257803"/>
                  <a:gd name="connsiteY5" fmla="*/ 1818697 h 4890220"/>
                  <a:gd name="connsiteX6" fmla="*/ 2591271 w 5257803"/>
                  <a:gd name="connsiteY6" fmla="*/ 1949930 h 4890220"/>
                  <a:gd name="connsiteX7" fmla="*/ 2889988 w 5257803"/>
                  <a:gd name="connsiteY7" fmla="*/ 2401092 h 4890220"/>
                  <a:gd name="connsiteX8" fmla="*/ 3077399 w 5257803"/>
                  <a:gd name="connsiteY8" fmla="*/ 2759857 h 4890220"/>
                  <a:gd name="connsiteX9" fmla="*/ 3381993 w 5257803"/>
                  <a:gd name="connsiteY9" fmla="*/ 3002843 h 4890220"/>
                  <a:gd name="connsiteX10" fmla="*/ 3654828 w 5257803"/>
                  <a:gd name="connsiteY10" fmla="*/ 3434950 h 4890220"/>
                  <a:gd name="connsiteX11" fmla="*/ 4086151 w 5257803"/>
                  <a:gd name="connsiteY11" fmla="*/ 3565251 h 4890220"/>
                  <a:gd name="connsiteX12" fmla="*/ 4459272 w 5257803"/>
                  <a:gd name="connsiteY12" fmla="*/ 3609830 h 4890220"/>
                  <a:gd name="connsiteX13" fmla="*/ 5257803 w 5257803"/>
                  <a:gd name="connsiteY13" fmla="*/ 4884410 h 4890220"/>
                  <a:gd name="connsiteX14" fmla="*/ 3902151 w 5257803"/>
                  <a:gd name="connsiteY14" fmla="*/ 4890220 h 4890220"/>
                  <a:gd name="connsiteX15" fmla="*/ 3813895 w 5257803"/>
                  <a:gd name="connsiteY15" fmla="*/ 4686873 h 4890220"/>
                  <a:gd name="connsiteX16" fmla="*/ 3477811 w 5257803"/>
                  <a:gd name="connsiteY16" fmla="*/ 4178514 h 4890220"/>
                  <a:gd name="connsiteX17" fmla="*/ 2656198 w 5257803"/>
                  <a:gd name="connsiteY17" fmla="*/ 3949681 h 4890220"/>
                  <a:gd name="connsiteX18" fmla="*/ 1211155 w 5257803"/>
                  <a:gd name="connsiteY18" fmla="*/ 3595252 h 4890220"/>
                  <a:gd name="connsiteX19" fmla="*/ 0 w 5257803"/>
                  <a:gd name="connsiteY19" fmla="*/ 3108855 h 4890220"/>
                  <a:gd name="connsiteX20" fmla="*/ 2305875 w 5257803"/>
                  <a:gd name="connsiteY20" fmla="*/ 1866553 h 4890220"/>
                  <a:gd name="connsiteX21" fmla="*/ 2060934 w 5257803"/>
                  <a:gd name="connsiteY21" fmla="*/ 1592736 h 4890220"/>
                  <a:gd name="connsiteX22" fmla="*/ 1798698 w 5257803"/>
                  <a:gd name="connsiteY22" fmla="*/ 1379809 h 4890220"/>
                  <a:gd name="connsiteX23" fmla="*/ 955831 w 5257803"/>
                  <a:gd name="connsiteY23" fmla="*/ 1062960 h 4890220"/>
                  <a:gd name="connsiteX24" fmla="*/ 1524669 w 5257803"/>
                  <a:gd name="connsiteY24" fmla="*/ 0 h 4890220"/>
                  <a:gd name="connsiteX0" fmla="*/ 1125945 w 4859079"/>
                  <a:gd name="connsiteY0" fmla="*/ 0 h 4890220"/>
                  <a:gd name="connsiteX1" fmla="*/ 1365109 w 4859079"/>
                  <a:gd name="connsiteY1" fmla="*/ 851425 h 4890220"/>
                  <a:gd name="connsiteX2" fmla="*/ 1682742 w 4859079"/>
                  <a:gd name="connsiteY2" fmla="*/ 1159433 h 4890220"/>
                  <a:gd name="connsiteX3" fmla="*/ 1961875 w 4859079"/>
                  <a:gd name="connsiteY3" fmla="*/ 1765825 h 4890220"/>
                  <a:gd name="connsiteX4" fmla="*/ 2231382 w 4859079"/>
                  <a:gd name="connsiteY4" fmla="*/ 1611821 h 4890220"/>
                  <a:gd name="connsiteX5" fmla="*/ 2243347 w 4859079"/>
                  <a:gd name="connsiteY5" fmla="*/ 1818697 h 4890220"/>
                  <a:gd name="connsiteX6" fmla="*/ 2192547 w 4859079"/>
                  <a:gd name="connsiteY6" fmla="*/ 1949930 h 4890220"/>
                  <a:gd name="connsiteX7" fmla="*/ 2491264 w 4859079"/>
                  <a:gd name="connsiteY7" fmla="*/ 2401092 h 4890220"/>
                  <a:gd name="connsiteX8" fmla="*/ 2678675 w 4859079"/>
                  <a:gd name="connsiteY8" fmla="*/ 2759857 h 4890220"/>
                  <a:gd name="connsiteX9" fmla="*/ 2983269 w 4859079"/>
                  <a:gd name="connsiteY9" fmla="*/ 3002843 h 4890220"/>
                  <a:gd name="connsiteX10" fmla="*/ 3256104 w 4859079"/>
                  <a:gd name="connsiteY10" fmla="*/ 3434950 h 4890220"/>
                  <a:gd name="connsiteX11" fmla="*/ 3687427 w 4859079"/>
                  <a:gd name="connsiteY11" fmla="*/ 3565251 h 4890220"/>
                  <a:gd name="connsiteX12" fmla="*/ 4060548 w 4859079"/>
                  <a:gd name="connsiteY12" fmla="*/ 3609830 h 4890220"/>
                  <a:gd name="connsiteX13" fmla="*/ 4859079 w 4859079"/>
                  <a:gd name="connsiteY13" fmla="*/ 4884410 h 4890220"/>
                  <a:gd name="connsiteX14" fmla="*/ 3503427 w 4859079"/>
                  <a:gd name="connsiteY14" fmla="*/ 4890220 h 4890220"/>
                  <a:gd name="connsiteX15" fmla="*/ 3415171 w 4859079"/>
                  <a:gd name="connsiteY15" fmla="*/ 4686873 h 4890220"/>
                  <a:gd name="connsiteX16" fmla="*/ 3079087 w 4859079"/>
                  <a:gd name="connsiteY16" fmla="*/ 4178514 h 4890220"/>
                  <a:gd name="connsiteX17" fmla="*/ 2257474 w 4859079"/>
                  <a:gd name="connsiteY17" fmla="*/ 3949681 h 4890220"/>
                  <a:gd name="connsiteX18" fmla="*/ 812431 w 4859079"/>
                  <a:gd name="connsiteY18" fmla="*/ 3595252 h 4890220"/>
                  <a:gd name="connsiteX19" fmla="*/ 0 w 4859079"/>
                  <a:gd name="connsiteY19" fmla="*/ 3150826 h 4890220"/>
                  <a:gd name="connsiteX20" fmla="*/ 1907151 w 4859079"/>
                  <a:gd name="connsiteY20" fmla="*/ 1866553 h 4890220"/>
                  <a:gd name="connsiteX21" fmla="*/ 1662210 w 4859079"/>
                  <a:gd name="connsiteY21" fmla="*/ 1592736 h 4890220"/>
                  <a:gd name="connsiteX22" fmla="*/ 1399974 w 4859079"/>
                  <a:gd name="connsiteY22" fmla="*/ 1379809 h 4890220"/>
                  <a:gd name="connsiteX23" fmla="*/ 557107 w 4859079"/>
                  <a:gd name="connsiteY23" fmla="*/ 1062960 h 4890220"/>
                  <a:gd name="connsiteX24" fmla="*/ 1125945 w 4859079"/>
                  <a:gd name="connsiteY24" fmla="*/ 0 h 4890220"/>
                  <a:gd name="connsiteX0" fmla="*/ 1125945 w 4859079"/>
                  <a:gd name="connsiteY0" fmla="*/ 0 h 4890220"/>
                  <a:gd name="connsiteX1" fmla="*/ 1365109 w 4859079"/>
                  <a:gd name="connsiteY1" fmla="*/ 851425 h 4890220"/>
                  <a:gd name="connsiteX2" fmla="*/ 1682742 w 4859079"/>
                  <a:gd name="connsiteY2" fmla="*/ 1159433 h 4890220"/>
                  <a:gd name="connsiteX3" fmla="*/ 1961875 w 4859079"/>
                  <a:gd name="connsiteY3" fmla="*/ 1765825 h 4890220"/>
                  <a:gd name="connsiteX4" fmla="*/ 2231382 w 4859079"/>
                  <a:gd name="connsiteY4" fmla="*/ 1611821 h 4890220"/>
                  <a:gd name="connsiteX5" fmla="*/ 2243347 w 4859079"/>
                  <a:gd name="connsiteY5" fmla="*/ 1818697 h 4890220"/>
                  <a:gd name="connsiteX6" fmla="*/ 2192547 w 4859079"/>
                  <a:gd name="connsiteY6" fmla="*/ 1949930 h 4890220"/>
                  <a:gd name="connsiteX7" fmla="*/ 2491264 w 4859079"/>
                  <a:gd name="connsiteY7" fmla="*/ 2401092 h 4890220"/>
                  <a:gd name="connsiteX8" fmla="*/ 2678675 w 4859079"/>
                  <a:gd name="connsiteY8" fmla="*/ 2759857 h 4890220"/>
                  <a:gd name="connsiteX9" fmla="*/ 2983269 w 4859079"/>
                  <a:gd name="connsiteY9" fmla="*/ 3002843 h 4890220"/>
                  <a:gd name="connsiteX10" fmla="*/ 3256104 w 4859079"/>
                  <a:gd name="connsiteY10" fmla="*/ 3434950 h 4890220"/>
                  <a:gd name="connsiteX11" fmla="*/ 3687427 w 4859079"/>
                  <a:gd name="connsiteY11" fmla="*/ 3565251 h 4890220"/>
                  <a:gd name="connsiteX12" fmla="*/ 4060548 w 4859079"/>
                  <a:gd name="connsiteY12" fmla="*/ 3609830 h 4890220"/>
                  <a:gd name="connsiteX13" fmla="*/ 4859079 w 4859079"/>
                  <a:gd name="connsiteY13" fmla="*/ 4884410 h 4890220"/>
                  <a:gd name="connsiteX14" fmla="*/ 3503427 w 4859079"/>
                  <a:gd name="connsiteY14" fmla="*/ 4890220 h 4890220"/>
                  <a:gd name="connsiteX15" fmla="*/ 3415171 w 4859079"/>
                  <a:gd name="connsiteY15" fmla="*/ 4686873 h 4890220"/>
                  <a:gd name="connsiteX16" fmla="*/ 3079087 w 4859079"/>
                  <a:gd name="connsiteY16" fmla="*/ 4178514 h 4890220"/>
                  <a:gd name="connsiteX17" fmla="*/ 2257474 w 4859079"/>
                  <a:gd name="connsiteY17" fmla="*/ 3949681 h 4890220"/>
                  <a:gd name="connsiteX18" fmla="*/ 812431 w 4859079"/>
                  <a:gd name="connsiteY18" fmla="*/ 3595252 h 4890220"/>
                  <a:gd name="connsiteX19" fmla="*/ 0 w 4859079"/>
                  <a:gd name="connsiteY19" fmla="*/ 3150826 h 4890220"/>
                  <a:gd name="connsiteX20" fmla="*/ 947700 w 4859079"/>
                  <a:gd name="connsiteY20" fmla="*/ 2371686 h 4890220"/>
                  <a:gd name="connsiteX21" fmla="*/ 1907151 w 4859079"/>
                  <a:gd name="connsiteY21" fmla="*/ 1866553 h 4890220"/>
                  <a:gd name="connsiteX22" fmla="*/ 1662210 w 4859079"/>
                  <a:gd name="connsiteY22" fmla="*/ 1592736 h 4890220"/>
                  <a:gd name="connsiteX23" fmla="*/ 1399974 w 4859079"/>
                  <a:gd name="connsiteY23" fmla="*/ 1379809 h 4890220"/>
                  <a:gd name="connsiteX24" fmla="*/ 557107 w 4859079"/>
                  <a:gd name="connsiteY24" fmla="*/ 1062960 h 4890220"/>
                  <a:gd name="connsiteX25" fmla="*/ 1125945 w 4859079"/>
                  <a:gd name="connsiteY25" fmla="*/ 0 h 4890220"/>
                  <a:gd name="connsiteX0" fmla="*/ 1125945 w 4859079"/>
                  <a:gd name="connsiteY0" fmla="*/ 0 h 4890220"/>
                  <a:gd name="connsiteX1" fmla="*/ 1365109 w 4859079"/>
                  <a:gd name="connsiteY1" fmla="*/ 851425 h 4890220"/>
                  <a:gd name="connsiteX2" fmla="*/ 1682742 w 4859079"/>
                  <a:gd name="connsiteY2" fmla="*/ 1159433 h 4890220"/>
                  <a:gd name="connsiteX3" fmla="*/ 1961875 w 4859079"/>
                  <a:gd name="connsiteY3" fmla="*/ 1765825 h 4890220"/>
                  <a:gd name="connsiteX4" fmla="*/ 2231382 w 4859079"/>
                  <a:gd name="connsiteY4" fmla="*/ 1611821 h 4890220"/>
                  <a:gd name="connsiteX5" fmla="*/ 2243347 w 4859079"/>
                  <a:gd name="connsiteY5" fmla="*/ 1818697 h 4890220"/>
                  <a:gd name="connsiteX6" fmla="*/ 2192547 w 4859079"/>
                  <a:gd name="connsiteY6" fmla="*/ 1949930 h 4890220"/>
                  <a:gd name="connsiteX7" fmla="*/ 2491264 w 4859079"/>
                  <a:gd name="connsiteY7" fmla="*/ 2401092 h 4890220"/>
                  <a:gd name="connsiteX8" fmla="*/ 2678675 w 4859079"/>
                  <a:gd name="connsiteY8" fmla="*/ 2759857 h 4890220"/>
                  <a:gd name="connsiteX9" fmla="*/ 2983269 w 4859079"/>
                  <a:gd name="connsiteY9" fmla="*/ 3002843 h 4890220"/>
                  <a:gd name="connsiteX10" fmla="*/ 3256104 w 4859079"/>
                  <a:gd name="connsiteY10" fmla="*/ 3434950 h 4890220"/>
                  <a:gd name="connsiteX11" fmla="*/ 3687427 w 4859079"/>
                  <a:gd name="connsiteY11" fmla="*/ 3565251 h 4890220"/>
                  <a:gd name="connsiteX12" fmla="*/ 4060548 w 4859079"/>
                  <a:gd name="connsiteY12" fmla="*/ 3609830 h 4890220"/>
                  <a:gd name="connsiteX13" fmla="*/ 4859079 w 4859079"/>
                  <a:gd name="connsiteY13" fmla="*/ 4884410 h 4890220"/>
                  <a:gd name="connsiteX14" fmla="*/ 3503427 w 4859079"/>
                  <a:gd name="connsiteY14" fmla="*/ 4890220 h 4890220"/>
                  <a:gd name="connsiteX15" fmla="*/ 3415171 w 4859079"/>
                  <a:gd name="connsiteY15" fmla="*/ 4686873 h 4890220"/>
                  <a:gd name="connsiteX16" fmla="*/ 3016131 w 4859079"/>
                  <a:gd name="connsiteY16" fmla="*/ 4213490 h 4890220"/>
                  <a:gd name="connsiteX17" fmla="*/ 2257474 w 4859079"/>
                  <a:gd name="connsiteY17" fmla="*/ 3949681 h 4890220"/>
                  <a:gd name="connsiteX18" fmla="*/ 812431 w 4859079"/>
                  <a:gd name="connsiteY18" fmla="*/ 3595252 h 4890220"/>
                  <a:gd name="connsiteX19" fmla="*/ 0 w 4859079"/>
                  <a:gd name="connsiteY19" fmla="*/ 3150826 h 4890220"/>
                  <a:gd name="connsiteX20" fmla="*/ 947700 w 4859079"/>
                  <a:gd name="connsiteY20" fmla="*/ 2371686 h 4890220"/>
                  <a:gd name="connsiteX21" fmla="*/ 1907151 w 4859079"/>
                  <a:gd name="connsiteY21" fmla="*/ 1866553 h 4890220"/>
                  <a:gd name="connsiteX22" fmla="*/ 1662210 w 4859079"/>
                  <a:gd name="connsiteY22" fmla="*/ 1592736 h 4890220"/>
                  <a:gd name="connsiteX23" fmla="*/ 1399974 w 4859079"/>
                  <a:gd name="connsiteY23" fmla="*/ 1379809 h 4890220"/>
                  <a:gd name="connsiteX24" fmla="*/ 557107 w 4859079"/>
                  <a:gd name="connsiteY24" fmla="*/ 1062960 h 4890220"/>
                  <a:gd name="connsiteX25" fmla="*/ 1125945 w 4859079"/>
                  <a:gd name="connsiteY25" fmla="*/ 0 h 4890220"/>
                  <a:gd name="connsiteX0" fmla="*/ 951066 w 4684200"/>
                  <a:gd name="connsiteY0" fmla="*/ 0 h 4890220"/>
                  <a:gd name="connsiteX1" fmla="*/ 1190230 w 4684200"/>
                  <a:gd name="connsiteY1" fmla="*/ 851425 h 4890220"/>
                  <a:gd name="connsiteX2" fmla="*/ 1507863 w 4684200"/>
                  <a:gd name="connsiteY2" fmla="*/ 1159433 h 4890220"/>
                  <a:gd name="connsiteX3" fmla="*/ 1786996 w 4684200"/>
                  <a:gd name="connsiteY3" fmla="*/ 1765825 h 4890220"/>
                  <a:gd name="connsiteX4" fmla="*/ 2056503 w 4684200"/>
                  <a:gd name="connsiteY4" fmla="*/ 1611821 h 4890220"/>
                  <a:gd name="connsiteX5" fmla="*/ 2068468 w 4684200"/>
                  <a:gd name="connsiteY5" fmla="*/ 1818697 h 4890220"/>
                  <a:gd name="connsiteX6" fmla="*/ 2017668 w 4684200"/>
                  <a:gd name="connsiteY6" fmla="*/ 1949930 h 4890220"/>
                  <a:gd name="connsiteX7" fmla="*/ 2316385 w 4684200"/>
                  <a:gd name="connsiteY7" fmla="*/ 2401092 h 4890220"/>
                  <a:gd name="connsiteX8" fmla="*/ 2503796 w 4684200"/>
                  <a:gd name="connsiteY8" fmla="*/ 2759857 h 4890220"/>
                  <a:gd name="connsiteX9" fmla="*/ 2808390 w 4684200"/>
                  <a:gd name="connsiteY9" fmla="*/ 3002843 h 4890220"/>
                  <a:gd name="connsiteX10" fmla="*/ 3081225 w 4684200"/>
                  <a:gd name="connsiteY10" fmla="*/ 3434950 h 4890220"/>
                  <a:gd name="connsiteX11" fmla="*/ 3512548 w 4684200"/>
                  <a:gd name="connsiteY11" fmla="*/ 3565251 h 4890220"/>
                  <a:gd name="connsiteX12" fmla="*/ 3885669 w 4684200"/>
                  <a:gd name="connsiteY12" fmla="*/ 3609830 h 4890220"/>
                  <a:gd name="connsiteX13" fmla="*/ 4684200 w 4684200"/>
                  <a:gd name="connsiteY13" fmla="*/ 4884410 h 4890220"/>
                  <a:gd name="connsiteX14" fmla="*/ 3328548 w 4684200"/>
                  <a:gd name="connsiteY14" fmla="*/ 4890220 h 4890220"/>
                  <a:gd name="connsiteX15" fmla="*/ 3240292 w 4684200"/>
                  <a:gd name="connsiteY15" fmla="*/ 4686873 h 4890220"/>
                  <a:gd name="connsiteX16" fmla="*/ 2841252 w 4684200"/>
                  <a:gd name="connsiteY16" fmla="*/ 4213490 h 4890220"/>
                  <a:gd name="connsiteX17" fmla="*/ 2082595 w 4684200"/>
                  <a:gd name="connsiteY17" fmla="*/ 3949681 h 4890220"/>
                  <a:gd name="connsiteX18" fmla="*/ 637552 w 4684200"/>
                  <a:gd name="connsiteY18" fmla="*/ 3595252 h 4890220"/>
                  <a:gd name="connsiteX19" fmla="*/ 0 w 4684200"/>
                  <a:gd name="connsiteY19" fmla="*/ 3171811 h 4890220"/>
                  <a:gd name="connsiteX20" fmla="*/ 772821 w 4684200"/>
                  <a:gd name="connsiteY20" fmla="*/ 2371686 h 4890220"/>
                  <a:gd name="connsiteX21" fmla="*/ 1732272 w 4684200"/>
                  <a:gd name="connsiteY21" fmla="*/ 1866553 h 4890220"/>
                  <a:gd name="connsiteX22" fmla="*/ 1487331 w 4684200"/>
                  <a:gd name="connsiteY22" fmla="*/ 1592736 h 4890220"/>
                  <a:gd name="connsiteX23" fmla="*/ 1225095 w 4684200"/>
                  <a:gd name="connsiteY23" fmla="*/ 1379809 h 4890220"/>
                  <a:gd name="connsiteX24" fmla="*/ 382228 w 4684200"/>
                  <a:gd name="connsiteY24" fmla="*/ 1062960 h 4890220"/>
                  <a:gd name="connsiteX25" fmla="*/ 951066 w 4684200"/>
                  <a:gd name="connsiteY25" fmla="*/ 0 h 4890220"/>
                  <a:gd name="connsiteX0" fmla="*/ 951066 w 4684200"/>
                  <a:gd name="connsiteY0" fmla="*/ 0 h 4890220"/>
                  <a:gd name="connsiteX1" fmla="*/ 1190230 w 4684200"/>
                  <a:gd name="connsiteY1" fmla="*/ 851425 h 4890220"/>
                  <a:gd name="connsiteX2" fmla="*/ 1507863 w 4684200"/>
                  <a:gd name="connsiteY2" fmla="*/ 1159433 h 4890220"/>
                  <a:gd name="connsiteX3" fmla="*/ 1786996 w 4684200"/>
                  <a:gd name="connsiteY3" fmla="*/ 1765825 h 4890220"/>
                  <a:gd name="connsiteX4" fmla="*/ 2056503 w 4684200"/>
                  <a:gd name="connsiteY4" fmla="*/ 1611821 h 4890220"/>
                  <a:gd name="connsiteX5" fmla="*/ 2068468 w 4684200"/>
                  <a:gd name="connsiteY5" fmla="*/ 1818697 h 4890220"/>
                  <a:gd name="connsiteX6" fmla="*/ 2017668 w 4684200"/>
                  <a:gd name="connsiteY6" fmla="*/ 1949930 h 4890220"/>
                  <a:gd name="connsiteX7" fmla="*/ 2316385 w 4684200"/>
                  <a:gd name="connsiteY7" fmla="*/ 2401092 h 4890220"/>
                  <a:gd name="connsiteX8" fmla="*/ 2503796 w 4684200"/>
                  <a:gd name="connsiteY8" fmla="*/ 2759857 h 4890220"/>
                  <a:gd name="connsiteX9" fmla="*/ 2808390 w 4684200"/>
                  <a:gd name="connsiteY9" fmla="*/ 3002843 h 4890220"/>
                  <a:gd name="connsiteX10" fmla="*/ 3081225 w 4684200"/>
                  <a:gd name="connsiteY10" fmla="*/ 3434950 h 4890220"/>
                  <a:gd name="connsiteX11" fmla="*/ 3512548 w 4684200"/>
                  <a:gd name="connsiteY11" fmla="*/ 3565251 h 4890220"/>
                  <a:gd name="connsiteX12" fmla="*/ 3885669 w 4684200"/>
                  <a:gd name="connsiteY12" fmla="*/ 3609830 h 4890220"/>
                  <a:gd name="connsiteX13" fmla="*/ 4684200 w 4684200"/>
                  <a:gd name="connsiteY13" fmla="*/ 4884410 h 4890220"/>
                  <a:gd name="connsiteX14" fmla="*/ 3328548 w 4684200"/>
                  <a:gd name="connsiteY14" fmla="*/ 4890220 h 4890220"/>
                  <a:gd name="connsiteX15" fmla="*/ 3240292 w 4684200"/>
                  <a:gd name="connsiteY15" fmla="*/ 4686873 h 4890220"/>
                  <a:gd name="connsiteX16" fmla="*/ 2841252 w 4684200"/>
                  <a:gd name="connsiteY16" fmla="*/ 4213490 h 4890220"/>
                  <a:gd name="connsiteX17" fmla="*/ 2082595 w 4684200"/>
                  <a:gd name="connsiteY17" fmla="*/ 3949681 h 4890220"/>
                  <a:gd name="connsiteX18" fmla="*/ 637552 w 4684200"/>
                  <a:gd name="connsiteY18" fmla="*/ 3595252 h 4890220"/>
                  <a:gd name="connsiteX19" fmla="*/ 0 w 4684200"/>
                  <a:gd name="connsiteY19" fmla="*/ 3171811 h 4890220"/>
                  <a:gd name="connsiteX20" fmla="*/ 772821 w 4684200"/>
                  <a:gd name="connsiteY20" fmla="*/ 2371686 h 4890220"/>
                  <a:gd name="connsiteX21" fmla="*/ 1415158 w 4684200"/>
                  <a:gd name="connsiteY21" fmla="*/ 1857227 h 4890220"/>
                  <a:gd name="connsiteX22" fmla="*/ 1487331 w 4684200"/>
                  <a:gd name="connsiteY22" fmla="*/ 1592736 h 4890220"/>
                  <a:gd name="connsiteX23" fmla="*/ 1225095 w 4684200"/>
                  <a:gd name="connsiteY23" fmla="*/ 1379809 h 4890220"/>
                  <a:gd name="connsiteX24" fmla="*/ 382228 w 4684200"/>
                  <a:gd name="connsiteY24" fmla="*/ 1062960 h 4890220"/>
                  <a:gd name="connsiteX25" fmla="*/ 951066 w 4684200"/>
                  <a:gd name="connsiteY25" fmla="*/ 0 h 4890220"/>
                  <a:gd name="connsiteX0" fmla="*/ 951066 w 4684200"/>
                  <a:gd name="connsiteY0" fmla="*/ 0 h 4890220"/>
                  <a:gd name="connsiteX1" fmla="*/ 1190230 w 4684200"/>
                  <a:gd name="connsiteY1" fmla="*/ 851425 h 4890220"/>
                  <a:gd name="connsiteX2" fmla="*/ 1507863 w 4684200"/>
                  <a:gd name="connsiteY2" fmla="*/ 1159433 h 4890220"/>
                  <a:gd name="connsiteX3" fmla="*/ 1786996 w 4684200"/>
                  <a:gd name="connsiteY3" fmla="*/ 1765825 h 4890220"/>
                  <a:gd name="connsiteX4" fmla="*/ 2056503 w 4684200"/>
                  <a:gd name="connsiteY4" fmla="*/ 1611821 h 4890220"/>
                  <a:gd name="connsiteX5" fmla="*/ 2068468 w 4684200"/>
                  <a:gd name="connsiteY5" fmla="*/ 1818697 h 4890220"/>
                  <a:gd name="connsiteX6" fmla="*/ 2017668 w 4684200"/>
                  <a:gd name="connsiteY6" fmla="*/ 1949930 h 4890220"/>
                  <a:gd name="connsiteX7" fmla="*/ 2316385 w 4684200"/>
                  <a:gd name="connsiteY7" fmla="*/ 2401092 h 4890220"/>
                  <a:gd name="connsiteX8" fmla="*/ 2503796 w 4684200"/>
                  <a:gd name="connsiteY8" fmla="*/ 2759857 h 4890220"/>
                  <a:gd name="connsiteX9" fmla="*/ 2808390 w 4684200"/>
                  <a:gd name="connsiteY9" fmla="*/ 3002843 h 4890220"/>
                  <a:gd name="connsiteX10" fmla="*/ 3081225 w 4684200"/>
                  <a:gd name="connsiteY10" fmla="*/ 3434950 h 4890220"/>
                  <a:gd name="connsiteX11" fmla="*/ 3512548 w 4684200"/>
                  <a:gd name="connsiteY11" fmla="*/ 3565251 h 4890220"/>
                  <a:gd name="connsiteX12" fmla="*/ 3885669 w 4684200"/>
                  <a:gd name="connsiteY12" fmla="*/ 3609830 h 4890220"/>
                  <a:gd name="connsiteX13" fmla="*/ 4684200 w 4684200"/>
                  <a:gd name="connsiteY13" fmla="*/ 4884410 h 4890220"/>
                  <a:gd name="connsiteX14" fmla="*/ 3328548 w 4684200"/>
                  <a:gd name="connsiteY14" fmla="*/ 4890220 h 4890220"/>
                  <a:gd name="connsiteX15" fmla="*/ 3240292 w 4684200"/>
                  <a:gd name="connsiteY15" fmla="*/ 4686873 h 4890220"/>
                  <a:gd name="connsiteX16" fmla="*/ 2841252 w 4684200"/>
                  <a:gd name="connsiteY16" fmla="*/ 4213490 h 4890220"/>
                  <a:gd name="connsiteX17" fmla="*/ 2082595 w 4684200"/>
                  <a:gd name="connsiteY17" fmla="*/ 3949681 h 4890220"/>
                  <a:gd name="connsiteX18" fmla="*/ 637552 w 4684200"/>
                  <a:gd name="connsiteY18" fmla="*/ 3595252 h 4890220"/>
                  <a:gd name="connsiteX19" fmla="*/ 0 w 4684200"/>
                  <a:gd name="connsiteY19" fmla="*/ 3171811 h 4890220"/>
                  <a:gd name="connsiteX20" fmla="*/ 772821 w 4684200"/>
                  <a:gd name="connsiteY20" fmla="*/ 2371686 h 4890220"/>
                  <a:gd name="connsiteX21" fmla="*/ 1415158 w 4684200"/>
                  <a:gd name="connsiteY21" fmla="*/ 1857227 h 4890220"/>
                  <a:gd name="connsiteX22" fmla="*/ 1487331 w 4684200"/>
                  <a:gd name="connsiteY22" fmla="*/ 1592736 h 4890220"/>
                  <a:gd name="connsiteX23" fmla="*/ 590867 w 4684200"/>
                  <a:gd name="connsiteY23" fmla="*/ 1370482 h 4890220"/>
                  <a:gd name="connsiteX24" fmla="*/ 382228 w 4684200"/>
                  <a:gd name="connsiteY24" fmla="*/ 1062960 h 4890220"/>
                  <a:gd name="connsiteX25" fmla="*/ 951066 w 4684200"/>
                  <a:gd name="connsiteY25" fmla="*/ 0 h 4890220"/>
                  <a:gd name="connsiteX0" fmla="*/ 951066 w 4684200"/>
                  <a:gd name="connsiteY0" fmla="*/ 0 h 4890220"/>
                  <a:gd name="connsiteX1" fmla="*/ 1190230 w 4684200"/>
                  <a:gd name="connsiteY1" fmla="*/ 851425 h 4890220"/>
                  <a:gd name="connsiteX2" fmla="*/ 1507863 w 4684200"/>
                  <a:gd name="connsiteY2" fmla="*/ 1159433 h 4890220"/>
                  <a:gd name="connsiteX3" fmla="*/ 1786996 w 4684200"/>
                  <a:gd name="connsiteY3" fmla="*/ 1765825 h 4890220"/>
                  <a:gd name="connsiteX4" fmla="*/ 2056503 w 4684200"/>
                  <a:gd name="connsiteY4" fmla="*/ 1611821 h 4890220"/>
                  <a:gd name="connsiteX5" fmla="*/ 2068468 w 4684200"/>
                  <a:gd name="connsiteY5" fmla="*/ 1818697 h 4890220"/>
                  <a:gd name="connsiteX6" fmla="*/ 2017668 w 4684200"/>
                  <a:gd name="connsiteY6" fmla="*/ 1949930 h 4890220"/>
                  <a:gd name="connsiteX7" fmla="*/ 2316385 w 4684200"/>
                  <a:gd name="connsiteY7" fmla="*/ 2401092 h 4890220"/>
                  <a:gd name="connsiteX8" fmla="*/ 2503796 w 4684200"/>
                  <a:gd name="connsiteY8" fmla="*/ 2759857 h 4890220"/>
                  <a:gd name="connsiteX9" fmla="*/ 2808390 w 4684200"/>
                  <a:gd name="connsiteY9" fmla="*/ 3002843 h 4890220"/>
                  <a:gd name="connsiteX10" fmla="*/ 3081225 w 4684200"/>
                  <a:gd name="connsiteY10" fmla="*/ 3434950 h 4890220"/>
                  <a:gd name="connsiteX11" fmla="*/ 3512548 w 4684200"/>
                  <a:gd name="connsiteY11" fmla="*/ 3565251 h 4890220"/>
                  <a:gd name="connsiteX12" fmla="*/ 3885669 w 4684200"/>
                  <a:gd name="connsiteY12" fmla="*/ 3609830 h 4890220"/>
                  <a:gd name="connsiteX13" fmla="*/ 4684200 w 4684200"/>
                  <a:gd name="connsiteY13" fmla="*/ 4884410 h 4890220"/>
                  <a:gd name="connsiteX14" fmla="*/ 3328548 w 4684200"/>
                  <a:gd name="connsiteY14" fmla="*/ 4890220 h 4890220"/>
                  <a:gd name="connsiteX15" fmla="*/ 3240292 w 4684200"/>
                  <a:gd name="connsiteY15" fmla="*/ 4686873 h 4890220"/>
                  <a:gd name="connsiteX16" fmla="*/ 2841252 w 4684200"/>
                  <a:gd name="connsiteY16" fmla="*/ 4213490 h 4890220"/>
                  <a:gd name="connsiteX17" fmla="*/ 2082595 w 4684200"/>
                  <a:gd name="connsiteY17" fmla="*/ 3949681 h 4890220"/>
                  <a:gd name="connsiteX18" fmla="*/ 637552 w 4684200"/>
                  <a:gd name="connsiteY18" fmla="*/ 3595252 h 4890220"/>
                  <a:gd name="connsiteX19" fmla="*/ 0 w 4684200"/>
                  <a:gd name="connsiteY19" fmla="*/ 3171811 h 4890220"/>
                  <a:gd name="connsiteX20" fmla="*/ 772821 w 4684200"/>
                  <a:gd name="connsiteY20" fmla="*/ 2371686 h 4890220"/>
                  <a:gd name="connsiteX21" fmla="*/ 1415158 w 4684200"/>
                  <a:gd name="connsiteY21" fmla="*/ 1857227 h 4890220"/>
                  <a:gd name="connsiteX22" fmla="*/ 1002333 w 4684200"/>
                  <a:gd name="connsiteY22" fmla="*/ 1611391 h 4890220"/>
                  <a:gd name="connsiteX23" fmla="*/ 590867 w 4684200"/>
                  <a:gd name="connsiteY23" fmla="*/ 1370482 h 4890220"/>
                  <a:gd name="connsiteX24" fmla="*/ 382228 w 4684200"/>
                  <a:gd name="connsiteY24" fmla="*/ 1062960 h 4890220"/>
                  <a:gd name="connsiteX25" fmla="*/ 951066 w 4684200"/>
                  <a:gd name="connsiteY25" fmla="*/ 0 h 4890220"/>
                  <a:gd name="connsiteX0" fmla="*/ 699240 w 4432374"/>
                  <a:gd name="connsiteY0" fmla="*/ 0 h 4890220"/>
                  <a:gd name="connsiteX1" fmla="*/ 938404 w 4432374"/>
                  <a:gd name="connsiteY1" fmla="*/ 851425 h 4890220"/>
                  <a:gd name="connsiteX2" fmla="*/ 1256037 w 4432374"/>
                  <a:gd name="connsiteY2" fmla="*/ 1159433 h 4890220"/>
                  <a:gd name="connsiteX3" fmla="*/ 1535170 w 4432374"/>
                  <a:gd name="connsiteY3" fmla="*/ 1765825 h 4890220"/>
                  <a:gd name="connsiteX4" fmla="*/ 1804677 w 4432374"/>
                  <a:gd name="connsiteY4" fmla="*/ 1611821 h 4890220"/>
                  <a:gd name="connsiteX5" fmla="*/ 1816642 w 4432374"/>
                  <a:gd name="connsiteY5" fmla="*/ 1818697 h 4890220"/>
                  <a:gd name="connsiteX6" fmla="*/ 1765842 w 4432374"/>
                  <a:gd name="connsiteY6" fmla="*/ 1949930 h 4890220"/>
                  <a:gd name="connsiteX7" fmla="*/ 2064559 w 4432374"/>
                  <a:gd name="connsiteY7" fmla="*/ 2401092 h 4890220"/>
                  <a:gd name="connsiteX8" fmla="*/ 2251970 w 4432374"/>
                  <a:gd name="connsiteY8" fmla="*/ 2759857 h 4890220"/>
                  <a:gd name="connsiteX9" fmla="*/ 2556564 w 4432374"/>
                  <a:gd name="connsiteY9" fmla="*/ 3002843 h 4890220"/>
                  <a:gd name="connsiteX10" fmla="*/ 2829399 w 4432374"/>
                  <a:gd name="connsiteY10" fmla="*/ 3434950 h 4890220"/>
                  <a:gd name="connsiteX11" fmla="*/ 3260722 w 4432374"/>
                  <a:gd name="connsiteY11" fmla="*/ 3565251 h 4890220"/>
                  <a:gd name="connsiteX12" fmla="*/ 3633843 w 4432374"/>
                  <a:gd name="connsiteY12" fmla="*/ 3609830 h 4890220"/>
                  <a:gd name="connsiteX13" fmla="*/ 4432374 w 4432374"/>
                  <a:gd name="connsiteY13" fmla="*/ 4884410 h 4890220"/>
                  <a:gd name="connsiteX14" fmla="*/ 3076722 w 4432374"/>
                  <a:gd name="connsiteY14" fmla="*/ 4890220 h 4890220"/>
                  <a:gd name="connsiteX15" fmla="*/ 2988466 w 4432374"/>
                  <a:gd name="connsiteY15" fmla="*/ 4686873 h 4890220"/>
                  <a:gd name="connsiteX16" fmla="*/ 2589426 w 4432374"/>
                  <a:gd name="connsiteY16" fmla="*/ 4213490 h 4890220"/>
                  <a:gd name="connsiteX17" fmla="*/ 1830769 w 4432374"/>
                  <a:gd name="connsiteY17" fmla="*/ 3949681 h 4890220"/>
                  <a:gd name="connsiteX18" fmla="*/ 385726 w 4432374"/>
                  <a:gd name="connsiteY18" fmla="*/ 3595252 h 4890220"/>
                  <a:gd name="connsiteX19" fmla="*/ 0 w 4432374"/>
                  <a:gd name="connsiteY19" fmla="*/ 3097195 h 4890220"/>
                  <a:gd name="connsiteX20" fmla="*/ 520995 w 4432374"/>
                  <a:gd name="connsiteY20" fmla="*/ 2371686 h 4890220"/>
                  <a:gd name="connsiteX21" fmla="*/ 1163332 w 4432374"/>
                  <a:gd name="connsiteY21" fmla="*/ 1857227 h 4890220"/>
                  <a:gd name="connsiteX22" fmla="*/ 750507 w 4432374"/>
                  <a:gd name="connsiteY22" fmla="*/ 1611391 h 4890220"/>
                  <a:gd name="connsiteX23" fmla="*/ 339041 w 4432374"/>
                  <a:gd name="connsiteY23" fmla="*/ 1370482 h 4890220"/>
                  <a:gd name="connsiteX24" fmla="*/ 130402 w 4432374"/>
                  <a:gd name="connsiteY24" fmla="*/ 1062960 h 4890220"/>
                  <a:gd name="connsiteX25" fmla="*/ 699240 w 4432374"/>
                  <a:gd name="connsiteY25" fmla="*/ 0 h 4890220"/>
                  <a:gd name="connsiteX0" fmla="*/ 699240 w 4432374"/>
                  <a:gd name="connsiteY0" fmla="*/ 0 h 4890220"/>
                  <a:gd name="connsiteX1" fmla="*/ 938404 w 4432374"/>
                  <a:gd name="connsiteY1" fmla="*/ 851425 h 4890220"/>
                  <a:gd name="connsiteX2" fmla="*/ 1256037 w 4432374"/>
                  <a:gd name="connsiteY2" fmla="*/ 1159433 h 4890220"/>
                  <a:gd name="connsiteX3" fmla="*/ 1535170 w 4432374"/>
                  <a:gd name="connsiteY3" fmla="*/ 1765825 h 4890220"/>
                  <a:gd name="connsiteX4" fmla="*/ 1804677 w 4432374"/>
                  <a:gd name="connsiteY4" fmla="*/ 1611821 h 4890220"/>
                  <a:gd name="connsiteX5" fmla="*/ 1816642 w 4432374"/>
                  <a:gd name="connsiteY5" fmla="*/ 1818697 h 4890220"/>
                  <a:gd name="connsiteX6" fmla="*/ 1765842 w 4432374"/>
                  <a:gd name="connsiteY6" fmla="*/ 1949930 h 4890220"/>
                  <a:gd name="connsiteX7" fmla="*/ 2064559 w 4432374"/>
                  <a:gd name="connsiteY7" fmla="*/ 2401092 h 4890220"/>
                  <a:gd name="connsiteX8" fmla="*/ 2251970 w 4432374"/>
                  <a:gd name="connsiteY8" fmla="*/ 2759857 h 4890220"/>
                  <a:gd name="connsiteX9" fmla="*/ 2556564 w 4432374"/>
                  <a:gd name="connsiteY9" fmla="*/ 3002843 h 4890220"/>
                  <a:gd name="connsiteX10" fmla="*/ 2829399 w 4432374"/>
                  <a:gd name="connsiteY10" fmla="*/ 3434950 h 4890220"/>
                  <a:gd name="connsiteX11" fmla="*/ 3260722 w 4432374"/>
                  <a:gd name="connsiteY11" fmla="*/ 3565251 h 4890220"/>
                  <a:gd name="connsiteX12" fmla="*/ 3633843 w 4432374"/>
                  <a:gd name="connsiteY12" fmla="*/ 3609830 h 4890220"/>
                  <a:gd name="connsiteX13" fmla="*/ 4432374 w 4432374"/>
                  <a:gd name="connsiteY13" fmla="*/ 4884410 h 4890220"/>
                  <a:gd name="connsiteX14" fmla="*/ 3076722 w 4432374"/>
                  <a:gd name="connsiteY14" fmla="*/ 4890220 h 4890220"/>
                  <a:gd name="connsiteX15" fmla="*/ 2988466 w 4432374"/>
                  <a:gd name="connsiteY15" fmla="*/ 4686873 h 4890220"/>
                  <a:gd name="connsiteX16" fmla="*/ 2589426 w 4432374"/>
                  <a:gd name="connsiteY16" fmla="*/ 4213490 h 4890220"/>
                  <a:gd name="connsiteX17" fmla="*/ 1830769 w 4432374"/>
                  <a:gd name="connsiteY17" fmla="*/ 3949681 h 4890220"/>
                  <a:gd name="connsiteX18" fmla="*/ 721493 w 4432374"/>
                  <a:gd name="connsiteY18" fmla="*/ 3697847 h 4890220"/>
                  <a:gd name="connsiteX19" fmla="*/ 0 w 4432374"/>
                  <a:gd name="connsiteY19" fmla="*/ 3097195 h 4890220"/>
                  <a:gd name="connsiteX20" fmla="*/ 520995 w 4432374"/>
                  <a:gd name="connsiteY20" fmla="*/ 2371686 h 4890220"/>
                  <a:gd name="connsiteX21" fmla="*/ 1163332 w 4432374"/>
                  <a:gd name="connsiteY21" fmla="*/ 1857227 h 4890220"/>
                  <a:gd name="connsiteX22" fmla="*/ 750507 w 4432374"/>
                  <a:gd name="connsiteY22" fmla="*/ 1611391 h 4890220"/>
                  <a:gd name="connsiteX23" fmla="*/ 339041 w 4432374"/>
                  <a:gd name="connsiteY23" fmla="*/ 1370482 h 4890220"/>
                  <a:gd name="connsiteX24" fmla="*/ 130402 w 4432374"/>
                  <a:gd name="connsiteY24" fmla="*/ 1062960 h 4890220"/>
                  <a:gd name="connsiteX25" fmla="*/ 699240 w 4432374"/>
                  <a:gd name="connsiteY25" fmla="*/ 0 h 4890220"/>
                  <a:gd name="connsiteX0" fmla="*/ 913758 w 4646892"/>
                  <a:gd name="connsiteY0" fmla="*/ 0 h 4890220"/>
                  <a:gd name="connsiteX1" fmla="*/ 1152922 w 4646892"/>
                  <a:gd name="connsiteY1" fmla="*/ 851425 h 4890220"/>
                  <a:gd name="connsiteX2" fmla="*/ 1470555 w 4646892"/>
                  <a:gd name="connsiteY2" fmla="*/ 1159433 h 4890220"/>
                  <a:gd name="connsiteX3" fmla="*/ 1749688 w 4646892"/>
                  <a:gd name="connsiteY3" fmla="*/ 1765825 h 4890220"/>
                  <a:gd name="connsiteX4" fmla="*/ 2019195 w 4646892"/>
                  <a:gd name="connsiteY4" fmla="*/ 1611821 h 4890220"/>
                  <a:gd name="connsiteX5" fmla="*/ 2031160 w 4646892"/>
                  <a:gd name="connsiteY5" fmla="*/ 1818697 h 4890220"/>
                  <a:gd name="connsiteX6" fmla="*/ 1980360 w 4646892"/>
                  <a:gd name="connsiteY6" fmla="*/ 1949930 h 4890220"/>
                  <a:gd name="connsiteX7" fmla="*/ 2279077 w 4646892"/>
                  <a:gd name="connsiteY7" fmla="*/ 2401092 h 4890220"/>
                  <a:gd name="connsiteX8" fmla="*/ 2466488 w 4646892"/>
                  <a:gd name="connsiteY8" fmla="*/ 2759857 h 4890220"/>
                  <a:gd name="connsiteX9" fmla="*/ 2771082 w 4646892"/>
                  <a:gd name="connsiteY9" fmla="*/ 3002843 h 4890220"/>
                  <a:gd name="connsiteX10" fmla="*/ 3043917 w 4646892"/>
                  <a:gd name="connsiteY10" fmla="*/ 3434950 h 4890220"/>
                  <a:gd name="connsiteX11" fmla="*/ 3475240 w 4646892"/>
                  <a:gd name="connsiteY11" fmla="*/ 3565251 h 4890220"/>
                  <a:gd name="connsiteX12" fmla="*/ 3848361 w 4646892"/>
                  <a:gd name="connsiteY12" fmla="*/ 3609830 h 4890220"/>
                  <a:gd name="connsiteX13" fmla="*/ 4646892 w 4646892"/>
                  <a:gd name="connsiteY13" fmla="*/ 4884410 h 4890220"/>
                  <a:gd name="connsiteX14" fmla="*/ 3291240 w 4646892"/>
                  <a:gd name="connsiteY14" fmla="*/ 4890220 h 4890220"/>
                  <a:gd name="connsiteX15" fmla="*/ 3202984 w 4646892"/>
                  <a:gd name="connsiteY15" fmla="*/ 4686873 h 4890220"/>
                  <a:gd name="connsiteX16" fmla="*/ 2803944 w 4646892"/>
                  <a:gd name="connsiteY16" fmla="*/ 4213490 h 4890220"/>
                  <a:gd name="connsiteX17" fmla="*/ 2045287 w 4646892"/>
                  <a:gd name="connsiteY17" fmla="*/ 3949681 h 4890220"/>
                  <a:gd name="connsiteX18" fmla="*/ 936011 w 4646892"/>
                  <a:gd name="connsiteY18" fmla="*/ 3697847 h 4890220"/>
                  <a:gd name="connsiteX19" fmla="*/ 0 w 4646892"/>
                  <a:gd name="connsiteY19" fmla="*/ 3274405 h 4890220"/>
                  <a:gd name="connsiteX20" fmla="*/ 735513 w 4646892"/>
                  <a:gd name="connsiteY20" fmla="*/ 2371686 h 4890220"/>
                  <a:gd name="connsiteX21" fmla="*/ 1377850 w 4646892"/>
                  <a:gd name="connsiteY21" fmla="*/ 1857227 h 4890220"/>
                  <a:gd name="connsiteX22" fmla="*/ 965025 w 4646892"/>
                  <a:gd name="connsiteY22" fmla="*/ 1611391 h 4890220"/>
                  <a:gd name="connsiteX23" fmla="*/ 553559 w 4646892"/>
                  <a:gd name="connsiteY23" fmla="*/ 1370482 h 4890220"/>
                  <a:gd name="connsiteX24" fmla="*/ 344920 w 4646892"/>
                  <a:gd name="connsiteY24" fmla="*/ 1062960 h 4890220"/>
                  <a:gd name="connsiteX25" fmla="*/ 913758 w 4646892"/>
                  <a:gd name="connsiteY25" fmla="*/ 0 h 4890220"/>
                  <a:gd name="connsiteX0" fmla="*/ 913758 w 4646892"/>
                  <a:gd name="connsiteY0" fmla="*/ 0 h 4890220"/>
                  <a:gd name="connsiteX1" fmla="*/ 1152922 w 4646892"/>
                  <a:gd name="connsiteY1" fmla="*/ 851425 h 4890220"/>
                  <a:gd name="connsiteX2" fmla="*/ 1470555 w 4646892"/>
                  <a:gd name="connsiteY2" fmla="*/ 1159433 h 4890220"/>
                  <a:gd name="connsiteX3" fmla="*/ 1749688 w 4646892"/>
                  <a:gd name="connsiteY3" fmla="*/ 1765825 h 4890220"/>
                  <a:gd name="connsiteX4" fmla="*/ 2019195 w 4646892"/>
                  <a:gd name="connsiteY4" fmla="*/ 1611821 h 4890220"/>
                  <a:gd name="connsiteX5" fmla="*/ 2031160 w 4646892"/>
                  <a:gd name="connsiteY5" fmla="*/ 1818697 h 4890220"/>
                  <a:gd name="connsiteX6" fmla="*/ 1980360 w 4646892"/>
                  <a:gd name="connsiteY6" fmla="*/ 1949930 h 4890220"/>
                  <a:gd name="connsiteX7" fmla="*/ 2279077 w 4646892"/>
                  <a:gd name="connsiteY7" fmla="*/ 2401092 h 4890220"/>
                  <a:gd name="connsiteX8" fmla="*/ 2466488 w 4646892"/>
                  <a:gd name="connsiteY8" fmla="*/ 2759857 h 4890220"/>
                  <a:gd name="connsiteX9" fmla="*/ 2771082 w 4646892"/>
                  <a:gd name="connsiteY9" fmla="*/ 3002843 h 4890220"/>
                  <a:gd name="connsiteX10" fmla="*/ 3043917 w 4646892"/>
                  <a:gd name="connsiteY10" fmla="*/ 3434950 h 4890220"/>
                  <a:gd name="connsiteX11" fmla="*/ 3475240 w 4646892"/>
                  <a:gd name="connsiteY11" fmla="*/ 3565251 h 4890220"/>
                  <a:gd name="connsiteX12" fmla="*/ 3848361 w 4646892"/>
                  <a:gd name="connsiteY12" fmla="*/ 3609830 h 4890220"/>
                  <a:gd name="connsiteX13" fmla="*/ 4646892 w 4646892"/>
                  <a:gd name="connsiteY13" fmla="*/ 4884410 h 4890220"/>
                  <a:gd name="connsiteX14" fmla="*/ 3291240 w 4646892"/>
                  <a:gd name="connsiteY14" fmla="*/ 4890220 h 4890220"/>
                  <a:gd name="connsiteX15" fmla="*/ 3202984 w 4646892"/>
                  <a:gd name="connsiteY15" fmla="*/ 4686873 h 4890220"/>
                  <a:gd name="connsiteX16" fmla="*/ 2803944 w 4646892"/>
                  <a:gd name="connsiteY16" fmla="*/ 4213490 h 4890220"/>
                  <a:gd name="connsiteX17" fmla="*/ 2045287 w 4646892"/>
                  <a:gd name="connsiteY17" fmla="*/ 3949681 h 4890220"/>
                  <a:gd name="connsiteX18" fmla="*/ 936011 w 4646892"/>
                  <a:gd name="connsiteY18" fmla="*/ 3697847 h 4890220"/>
                  <a:gd name="connsiteX19" fmla="*/ 0 w 4646892"/>
                  <a:gd name="connsiteY19" fmla="*/ 3274405 h 4890220"/>
                  <a:gd name="connsiteX20" fmla="*/ 726186 w 4646892"/>
                  <a:gd name="connsiteY20" fmla="*/ 2511590 h 4890220"/>
                  <a:gd name="connsiteX21" fmla="*/ 1377850 w 4646892"/>
                  <a:gd name="connsiteY21" fmla="*/ 1857227 h 4890220"/>
                  <a:gd name="connsiteX22" fmla="*/ 965025 w 4646892"/>
                  <a:gd name="connsiteY22" fmla="*/ 1611391 h 4890220"/>
                  <a:gd name="connsiteX23" fmla="*/ 553559 w 4646892"/>
                  <a:gd name="connsiteY23" fmla="*/ 1370482 h 4890220"/>
                  <a:gd name="connsiteX24" fmla="*/ 344920 w 4646892"/>
                  <a:gd name="connsiteY24" fmla="*/ 1062960 h 4890220"/>
                  <a:gd name="connsiteX25" fmla="*/ 913758 w 4646892"/>
                  <a:gd name="connsiteY25" fmla="*/ 0 h 4890220"/>
                  <a:gd name="connsiteX0" fmla="*/ 913758 w 4646892"/>
                  <a:gd name="connsiteY0" fmla="*/ 0 h 4890220"/>
                  <a:gd name="connsiteX1" fmla="*/ 1152922 w 4646892"/>
                  <a:gd name="connsiteY1" fmla="*/ 851425 h 4890220"/>
                  <a:gd name="connsiteX2" fmla="*/ 1470555 w 4646892"/>
                  <a:gd name="connsiteY2" fmla="*/ 1159433 h 4890220"/>
                  <a:gd name="connsiteX3" fmla="*/ 1749688 w 4646892"/>
                  <a:gd name="connsiteY3" fmla="*/ 1765825 h 4890220"/>
                  <a:gd name="connsiteX4" fmla="*/ 2019195 w 4646892"/>
                  <a:gd name="connsiteY4" fmla="*/ 1611821 h 4890220"/>
                  <a:gd name="connsiteX5" fmla="*/ 2031160 w 4646892"/>
                  <a:gd name="connsiteY5" fmla="*/ 1818697 h 4890220"/>
                  <a:gd name="connsiteX6" fmla="*/ 1980360 w 4646892"/>
                  <a:gd name="connsiteY6" fmla="*/ 1949930 h 4890220"/>
                  <a:gd name="connsiteX7" fmla="*/ 2279077 w 4646892"/>
                  <a:gd name="connsiteY7" fmla="*/ 2401092 h 4890220"/>
                  <a:gd name="connsiteX8" fmla="*/ 2466488 w 4646892"/>
                  <a:gd name="connsiteY8" fmla="*/ 2759857 h 4890220"/>
                  <a:gd name="connsiteX9" fmla="*/ 2771082 w 4646892"/>
                  <a:gd name="connsiteY9" fmla="*/ 3002843 h 4890220"/>
                  <a:gd name="connsiteX10" fmla="*/ 3043917 w 4646892"/>
                  <a:gd name="connsiteY10" fmla="*/ 3434950 h 4890220"/>
                  <a:gd name="connsiteX11" fmla="*/ 3475240 w 4646892"/>
                  <a:gd name="connsiteY11" fmla="*/ 3565251 h 4890220"/>
                  <a:gd name="connsiteX12" fmla="*/ 3848361 w 4646892"/>
                  <a:gd name="connsiteY12" fmla="*/ 3609830 h 4890220"/>
                  <a:gd name="connsiteX13" fmla="*/ 4646892 w 4646892"/>
                  <a:gd name="connsiteY13" fmla="*/ 4884410 h 4890220"/>
                  <a:gd name="connsiteX14" fmla="*/ 3291240 w 4646892"/>
                  <a:gd name="connsiteY14" fmla="*/ 4890220 h 4890220"/>
                  <a:gd name="connsiteX15" fmla="*/ 3202984 w 4646892"/>
                  <a:gd name="connsiteY15" fmla="*/ 4686873 h 4890220"/>
                  <a:gd name="connsiteX16" fmla="*/ 2803944 w 4646892"/>
                  <a:gd name="connsiteY16" fmla="*/ 4213490 h 4890220"/>
                  <a:gd name="connsiteX17" fmla="*/ 2045287 w 4646892"/>
                  <a:gd name="connsiteY17" fmla="*/ 3949681 h 4890220"/>
                  <a:gd name="connsiteX18" fmla="*/ 945339 w 4646892"/>
                  <a:gd name="connsiteY18" fmla="*/ 3856405 h 4890220"/>
                  <a:gd name="connsiteX19" fmla="*/ 0 w 4646892"/>
                  <a:gd name="connsiteY19" fmla="*/ 3274405 h 4890220"/>
                  <a:gd name="connsiteX20" fmla="*/ 726186 w 4646892"/>
                  <a:gd name="connsiteY20" fmla="*/ 2511590 h 4890220"/>
                  <a:gd name="connsiteX21" fmla="*/ 1377850 w 4646892"/>
                  <a:gd name="connsiteY21" fmla="*/ 1857227 h 4890220"/>
                  <a:gd name="connsiteX22" fmla="*/ 965025 w 4646892"/>
                  <a:gd name="connsiteY22" fmla="*/ 1611391 h 4890220"/>
                  <a:gd name="connsiteX23" fmla="*/ 553559 w 4646892"/>
                  <a:gd name="connsiteY23" fmla="*/ 1370482 h 4890220"/>
                  <a:gd name="connsiteX24" fmla="*/ 344920 w 4646892"/>
                  <a:gd name="connsiteY24" fmla="*/ 1062960 h 4890220"/>
                  <a:gd name="connsiteX25" fmla="*/ 913758 w 4646892"/>
                  <a:gd name="connsiteY25" fmla="*/ 0 h 4890220"/>
                  <a:gd name="connsiteX0" fmla="*/ 913758 w 4646892"/>
                  <a:gd name="connsiteY0" fmla="*/ 0 h 4890220"/>
                  <a:gd name="connsiteX1" fmla="*/ 1152922 w 4646892"/>
                  <a:gd name="connsiteY1" fmla="*/ 851425 h 4890220"/>
                  <a:gd name="connsiteX2" fmla="*/ 1470555 w 4646892"/>
                  <a:gd name="connsiteY2" fmla="*/ 1159433 h 4890220"/>
                  <a:gd name="connsiteX3" fmla="*/ 1749688 w 4646892"/>
                  <a:gd name="connsiteY3" fmla="*/ 1765825 h 4890220"/>
                  <a:gd name="connsiteX4" fmla="*/ 2019195 w 4646892"/>
                  <a:gd name="connsiteY4" fmla="*/ 1611821 h 4890220"/>
                  <a:gd name="connsiteX5" fmla="*/ 2031160 w 4646892"/>
                  <a:gd name="connsiteY5" fmla="*/ 1818697 h 4890220"/>
                  <a:gd name="connsiteX6" fmla="*/ 1980360 w 4646892"/>
                  <a:gd name="connsiteY6" fmla="*/ 1949930 h 4890220"/>
                  <a:gd name="connsiteX7" fmla="*/ 2279077 w 4646892"/>
                  <a:gd name="connsiteY7" fmla="*/ 2401092 h 4890220"/>
                  <a:gd name="connsiteX8" fmla="*/ 2466488 w 4646892"/>
                  <a:gd name="connsiteY8" fmla="*/ 2759857 h 4890220"/>
                  <a:gd name="connsiteX9" fmla="*/ 2771082 w 4646892"/>
                  <a:gd name="connsiteY9" fmla="*/ 3002843 h 4890220"/>
                  <a:gd name="connsiteX10" fmla="*/ 3043917 w 4646892"/>
                  <a:gd name="connsiteY10" fmla="*/ 3434950 h 4890220"/>
                  <a:gd name="connsiteX11" fmla="*/ 3475240 w 4646892"/>
                  <a:gd name="connsiteY11" fmla="*/ 3565251 h 4890220"/>
                  <a:gd name="connsiteX12" fmla="*/ 3848361 w 4646892"/>
                  <a:gd name="connsiteY12" fmla="*/ 3609830 h 4890220"/>
                  <a:gd name="connsiteX13" fmla="*/ 4646892 w 4646892"/>
                  <a:gd name="connsiteY13" fmla="*/ 4884410 h 4890220"/>
                  <a:gd name="connsiteX14" fmla="*/ 3291240 w 4646892"/>
                  <a:gd name="connsiteY14" fmla="*/ 4890220 h 4890220"/>
                  <a:gd name="connsiteX15" fmla="*/ 3202984 w 4646892"/>
                  <a:gd name="connsiteY15" fmla="*/ 4686873 h 4890220"/>
                  <a:gd name="connsiteX16" fmla="*/ 2803944 w 4646892"/>
                  <a:gd name="connsiteY16" fmla="*/ 4213490 h 4890220"/>
                  <a:gd name="connsiteX17" fmla="*/ 2054614 w 4646892"/>
                  <a:gd name="connsiteY17" fmla="*/ 3921700 h 4890220"/>
                  <a:gd name="connsiteX18" fmla="*/ 945339 w 4646892"/>
                  <a:gd name="connsiteY18" fmla="*/ 3856405 h 4890220"/>
                  <a:gd name="connsiteX19" fmla="*/ 0 w 4646892"/>
                  <a:gd name="connsiteY19" fmla="*/ 3274405 h 4890220"/>
                  <a:gd name="connsiteX20" fmla="*/ 726186 w 4646892"/>
                  <a:gd name="connsiteY20" fmla="*/ 2511590 h 4890220"/>
                  <a:gd name="connsiteX21" fmla="*/ 1377850 w 4646892"/>
                  <a:gd name="connsiteY21" fmla="*/ 1857227 h 4890220"/>
                  <a:gd name="connsiteX22" fmla="*/ 965025 w 4646892"/>
                  <a:gd name="connsiteY22" fmla="*/ 1611391 h 4890220"/>
                  <a:gd name="connsiteX23" fmla="*/ 553559 w 4646892"/>
                  <a:gd name="connsiteY23" fmla="*/ 1370482 h 4890220"/>
                  <a:gd name="connsiteX24" fmla="*/ 344920 w 4646892"/>
                  <a:gd name="connsiteY24" fmla="*/ 1062960 h 4890220"/>
                  <a:gd name="connsiteX25" fmla="*/ 913758 w 4646892"/>
                  <a:gd name="connsiteY25" fmla="*/ 0 h 4890220"/>
                  <a:gd name="connsiteX0" fmla="*/ 913758 w 4646892"/>
                  <a:gd name="connsiteY0" fmla="*/ 0 h 4890220"/>
                  <a:gd name="connsiteX1" fmla="*/ 1152922 w 4646892"/>
                  <a:gd name="connsiteY1" fmla="*/ 851425 h 4890220"/>
                  <a:gd name="connsiteX2" fmla="*/ 1470555 w 4646892"/>
                  <a:gd name="connsiteY2" fmla="*/ 1159433 h 4890220"/>
                  <a:gd name="connsiteX3" fmla="*/ 1749688 w 4646892"/>
                  <a:gd name="connsiteY3" fmla="*/ 1765825 h 4890220"/>
                  <a:gd name="connsiteX4" fmla="*/ 2019195 w 4646892"/>
                  <a:gd name="connsiteY4" fmla="*/ 1611821 h 4890220"/>
                  <a:gd name="connsiteX5" fmla="*/ 2031160 w 4646892"/>
                  <a:gd name="connsiteY5" fmla="*/ 1818697 h 4890220"/>
                  <a:gd name="connsiteX6" fmla="*/ 1980360 w 4646892"/>
                  <a:gd name="connsiteY6" fmla="*/ 1949930 h 4890220"/>
                  <a:gd name="connsiteX7" fmla="*/ 2279077 w 4646892"/>
                  <a:gd name="connsiteY7" fmla="*/ 2401092 h 4890220"/>
                  <a:gd name="connsiteX8" fmla="*/ 2466488 w 4646892"/>
                  <a:gd name="connsiteY8" fmla="*/ 2759857 h 4890220"/>
                  <a:gd name="connsiteX9" fmla="*/ 2771082 w 4646892"/>
                  <a:gd name="connsiteY9" fmla="*/ 3002843 h 4890220"/>
                  <a:gd name="connsiteX10" fmla="*/ 3043917 w 4646892"/>
                  <a:gd name="connsiteY10" fmla="*/ 3434950 h 4890220"/>
                  <a:gd name="connsiteX11" fmla="*/ 3475240 w 4646892"/>
                  <a:gd name="connsiteY11" fmla="*/ 3565251 h 4890220"/>
                  <a:gd name="connsiteX12" fmla="*/ 3848361 w 4646892"/>
                  <a:gd name="connsiteY12" fmla="*/ 3609830 h 4890220"/>
                  <a:gd name="connsiteX13" fmla="*/ 4646892 w 4646892"/>
                  <a:gd name="connsiteY13" fmla="*/ 4884410 h 4890220"/>
                  <a:gd name="connsiteX14" fmla="*/ 3291240 w 4646892"/>
                  <a:gd name="connsiteY14" fmla="*/ 4890220 h 4890220"/>
                  <a:gd name="connsiteX15" fmla="*/ 3202984 w 4646892"/>
                  <a:gd name="connsiteY15" fmla="*/ 4686873 h 4890220"/>
                  <a:gd name="connsiteX16" fmla="*/ 2803944 w 4646892"/>
                  <a:gd name="connsiteY16" fmla="*/ 4213490 h 4890220"/>
                  <a:gd name="connsiteX17" fmla="*/ 2054614 w 4646892"/>
                  <a:gd name="connsiteY17" fmla="*/ 4014970 h 4890220"/>
                  <a:gd name="connsiteX18" fmla="*/ 945339 w 4646892"/>
                  <a:gd name="connsiteY18" fmla="*/ 3856405 h 4890220"/>
                  <a:gd name="connsiteX19" fmla="*/ 0 w 4646892"/>
                  <a:gd name="connsiteY19" fmla="*/ 3274405 h 4890220"/>
                  <a:gd name="connsiteX20" fmla="*/ 726186 w 4646892"/>
                  <a:gd name="connsiteY20" fmla="*/ 2511590 h 4890220"/>
                  <a:gd name="connsiteX21" fmla="*/ 1377850 w 4646892"/>
                  <a:gd name="connsiteY21" fmla="*/ 1857227 h 4890220"/>
                  <a:gd name="connsiteX22" fmla="*/ 965025 w 4646892"/>
                  <a:gd name="connsiteY22" fmla="*/ 1611391 h 4890220"/>
                  <a:gd name="connsiteX23" fmla="*/ 553559 w 4646892"/>
                  <a:gd name="connsiteY23" fmla="*/ 1370482 h 4890220"/>
                  <a:gd name="connsiteX24" fmla="*/ 344920 w 4646892"/>
                  <a:gd name="connsiteY24" fmla="*/ 1062960 h 4890220"/>
                  <a:gd name="connsiteX25" fmla="*/ 913758 w 4646892"/>
                  <a:gd name="connsiteY25" fmla="*/ 0 h 4890220"/>
                  <a:gd name="connsiteX0" fmla="*/ 913758 w 4646892"/>
                  <a:gd name="connsiteY0" fmla="*/ 0 h 4890220"/>
                  <a:gd name="connsiteX1" fmla="*/ 1152922 w 4646892"/>
                  <a:gd name="connsiteY1" fmla="*/ 851425 h 4890220"/>
                  <a:gd name="connsiteX2" fmla="*/ 1470555 w 4646892"/>
                  <a:gd name="connsiteY2" fmla="*/ 1159433 h 4890220"/>
                  <a:gd name="connsiteX3" fmla="*/ 1749688 w 4646892"/>
                  <a:gd name="connsiteY3" fmla="*/ 1765825 h 4890220"/>
                  <a:gd name="connsiteX4" fmla="*/ 2019195 w 4646892"/>
                  <a:gd name="connsiteY4" fmla="*/ 1611821 h 4890220"/>
                  <a:gd name="connsiteX5" fmla="*/ 2031160 w 4646892"/>
                  <a:gd name="connsiteY5" fmla="*/ 1818697 h 4890220"/>
                  <a:gd name="connsiteX6" fmla="*/ 1980360 w 4646892"/>
                  <a:gd name="connsiteY6" fmla="*/ 1949930 h 4890220"/>
                  <a:gd name="connsiteX7" fmla="*/ 2279077 w 4646892"/>
                  <a:gd name="connsiteY7" fmla="*/ 2401092 h 4890220"/>
                  <a:gd name="connsiteX8" fmla="*/ 2466488 w 4646892"/>
                  <a:gd name="connsiteY8" fmla="*/ 2759857 h 4890220"/>
                  <a:gd name="connsiteX9" fmla="*/ 2771082 w 4646892"/>
                  <a:gd name="connsiteY9" fmla="*/ 3002843 h 4890220"/>
                  <a:gd name="connsiteX10" fmla="*/ 3043917 w 4646892"/>
                  <a:gd name="connsiteY10" fmla="*/ 3434950 h 4890220"/>
                  <a:gd name="connsiteX11" fmla="*/ 3475240 w 4646892"/>
                  <a:gd name="connsiteY11" fmla="*/ 3565251 h 4890220"/>
                  <a:gd name="connsiteX12" fmla="*/ 3848361 w 4646892"/>
                  <a:gd name="connsiteY12" fmla="*/ 3609830 h 4890220"/>
                  <a:gd name="connsiteX13" fmla="*/ 4646892 w 4646892"/>
                  <a:gd name="connsiteY13" fmla="*/ 4884410 h 4890220"/>
                  <a:gd name="connsiteX14" fmla="*/ 3291240 w 4646892"/>
                  <a:gd name="connsiteY14" fmla="*/ 4890220 h 4890220"/>
                  <a:gd name="connsiteX15" fmla="*/ 3202984 w 4646892"/>
                  <a:gd name="connsiteY15" fmla="*/ 4686873 h 4890220"/>
                  <a:gd name="connsiteX16" fmla="*/ 2720002 w 4646892"/>
                  <a:gd name="connsiteY16" fmla="*/ 4297432 h 4890220"/>
                  <a:gd name="connsiteX17" fmla="*/ 2054614 w 4646892"/>
                  <a:gd name="connsiteY17" fmla="*/ 4014970 h 4890220"/>
                  <a:gd name="connsiteX18" fmla="*/ 945339 w 4646892"/>
                  <a:gd name="connsiteY18" fmla="*/ 3856405 h 4890220"/>
                  <a:gd name="connsiteX19" fmla="*/ 0 w 4646892"/>
                  <a:gd name="connsiteY19" fmla="*/ 3274405 h 4890220"/>
                  <a:gd name="connsiteX20" fmla="*/ 726186 w 4646892"/>
                  <a:gd name="connsiteY20" fmla="*/ 2511590 h 4890220"/>
                  <a:gd name="connsiteX21" fmla="*/ 1377850 w 4646892"/>
                  <a:gd name="connsiteY21" fmla="*/ 1857227 h 4890220"/>
                  <a:gd name="connsiteX22" fmla="*/ 965025 w 4646892"/>
                  <a:gd name="connsiteY22" fmla="*/ 1611391 h 4890220"/>
                  <a:gd name="connsiteX23" fmla="*/ 553559 w 4646892"/>
                  <a:gd name="connsiteY23" fmla="*/ 1370482 h 4890220"/>
                  <a:gd name="connsiteX24" fmla="*/ 344920 w 4646892"/>
                  <a:gd name="connsiteY24" fmla="*/ 1062960 h 4890220"/>
                  <a:gd name="connsiteX25" fmla="*/ 913758 w 4646892"/>
                  <a:gd name="connsiteY25" fmla="*/ 0 h 4890220"/>
                  <a:gd name="connsiteX0" fmla="*/ 913758 w 4646892"/>
                  <a:gd name="connsiteY0" fmla="*/ 0 h 4890220"/>
                  <a:gd name="connsiteX1" fmla="*/ 1152922 w 4646892"/>
                  <a:gd name="connsiteY1" fmla="*/ 851425 h 4890220"/>
                  <a:gd name="connsiteX2" fmla="*/ 1470555 w 4646892"/>
                  <a:gd name="connsiteY2" fmla="*/ 1159433 h 4890220"/>
                  <a:gd name="connsiteX3" fmla="*/ 1749688 w 4646892"/>
                  <a:gd name="connsiteY3" fmla="*/ 1765825 h 4890220"/>
                  <a:gd name="connsiteX4" fmla="*/ 2019195 w 4646892"/>
                  <a:gd name="connsiteY4" fmla="*/ 1611821 h 4890220"/>
                  <a:gd name="connsiteX5" fmla="*/ 2031160 w 4646892"/>
                  <a:gd name="connsiteY5" fmla="*/ 1818697 h 4890220"/>
                  <a:gd name="connsiteX6" fmla="*/ 1980360 w 4646892"/>
                  <a:gd name="connsiteY6" fmla="*/ 1949930 h 4890220"/>
                  <a:gd name="connsiteX7" fmla="*/ 2279077 w 4646892"/>
                  <a:gd name="connsiteY7" fmla="*/ 2401092 h 4890220"/>
                  <a:gd name="connsiteX8" fmla="*/ 2466488 w 4646892"/>
                  <a:gd name="connsiteY8" fmla="*/ 2759857 h 4890220"/>
                  <a:gd name="connsiteX9" fmla="*/ 2771082 w 4646892"/>
                  <a:gd name="connsiteY9" fmla="*/ 3002843 h 4890220"/>
                  <a:gd name="connsiteX10" fmla="*/ 3043917 w 4646892"/>
                  <a:gd name="connsiteY10" fmla="*/ 3434950 h 4890220"/>
                  <a:gd name="connsiteX11" fmla="*/ 3475240 w 4646892"/>
                  <a:gd name="connsiteY11" fmla="*/ 3565251 h 4890220"/>
                  <a:gd name="connsiteX12" fmla="*/ 3848361 w 4646892"/>
                  <a:gd name="connsiteY12" fmla="*/ 3609830 h 4890220"/>
                  <a:gd name="connsiteX13" fmla="*/ 4646892 w 4646892"/>
                  <a:gd name="connsiteY13" fmla="*/ 4884410 h 4890220"/>
                  <a:gd name="connsiteX14" fmla="*/ 3291240 w 4646892"/>
                  <a:gd name="connsiteY14" fmla="*/ 4890220 h 4890220"/>
                  <a:gd name="connsiteX15" fmla="*/ 3156349 w 4646892"/>
                  <a:gd name="connsiteY15" fmla="*/ 4752161 h 4890220"/>
                  <a:gd name="connsiteX16" fmla="*/ 2720002 w 4646892"/>
                  <a:gd name="connsiteY16" fmla="*/ 4297432 h 4890220"/>
                  <a:gd name="connsiteX17" fmla="*/ 2054614 w 4646892"/>
                  <a:gd name="connsiteY17" fmla="*/ 4014970 h 4890220"/>
                  <a:gd name="connsiteX18" fmla="*/ 945339 w 4646892"/>
                  <a:gd name="connsiteY18" fmla="*/ 3856405 h 4890220"/>
                  <a:gd name="connsiteX19" fmla="*/ 0 w 4646892"/>
                  <a:gd name="connsiteY19" fmla="*/ 3274405 h 4890220"/>
                  <a:gd name="connsiteX20" fmla="*/ 726186 w 4646892"/>
                  <a:gd name="connsiteY20" fmla="*/ 2511590 h 4890220"/>
                  <a:gd name="connsiteX21" fmla="*/ 1377850 w 4646892"/>
                  <a:gd name="connsiteY21" fmla="*/ 1857227 h 4890220"/>
                  <a:gd name="connsiteX22" fmla="*/ 965025 w 4646892"/>
                  <a:gd name="connsiteY22" fmla="*/ 1611391 h 4890220"/>
                  <a:gd name="connsiteX23" fmla="*/ 553559 w 4646892"/>
                  <a:gd name="connsiteY23" fmla="*/ 1370482 h 4890220"/>
                  <a:gd name="connsiteX24" fmla="*/ 344920 w 4646892"/>
                  <a:gd name="connsiteY24" fmla="*/ 1062960 h 4890220"/>
                  <a:gd name="connsiteX25" fmla="*/ 913758 w 4646892"/>
                  <a:gd name="connsiteY25" fmla="*/ 0 h 4890220"/>
                  <a:gd name="connsiteX0" fmla="*/ 913758 w 4646892"/>
                  <a:gd name="connsiteY0" fmla="*/ 0 h 4890220"/>
                  <a:gd name="connsiteX1" fmla="*/ 1152922 w 4646892"/>
                  <a:gd name="connsiteY1" fmla="*/ 851425 h 4890220"/>
                  <a:gd name="connsiteX2" fmla="*/ 1470555 w 4646892"/>
                  <a:gd name="connsiteY2" fmla="*/ 1159433 h 4890220"/>
                  <a:gd name="connsiteX3" fmla="*/ 1749688 w 4646892"/>
                  <a:gd name="connsiteY3" fmla="*/ 1765825 h 4890220"/>
                  <a:gd name="connsiteX4" fmla="*/ 2019195 w 4646892"/>
                  <a:gd name="connsiteY4" fmla="*/ 1611821 h 4890220"/>
                  <a:gd name="connsiteX5" fmla="*/ 2031160 w 4646892"/>
                  <a:gd name="connsiteY5" fmla="*/ 1818697 h 4890220"/>
                  <a:gd name="connsiteX6" fmla="*/ 1980360 w 4646892"/>
                  <a:gd name="connsiteY6" fmla="*/ 1949930 h 4890220"/>
                  <a:gd name="connsiteX7" fmla="*/ 2279077 w 4646892"/>
                  <a:gd name="connsiteY7" fmla="*/ 2401092 h 4890220"/>
                  <a:gd name="connsiteX8" fmla="*/ 2466488 w 4646892"/>
                  <a:gd name="connsiteY8" fmla="*/ 2759857 h 4890220"/>
                  <a:gd name="connsiteX9" fmla="*/ 2771082 w 4646892"/>
                  <a:gd name="connsiteY9" fmla="*/ 3002843 h 4890220"/>
                  <a:gd name="connsiteX10" fmla="*/ 3043917 w 4646892"/>
                  <a:gd name="connsiteY10" fmla="*/ 3434950 h 4890220"/>
                  <a:gd name="connsiteX11" fmla="*/ 3475240 w 4646892"/>
                  <a:gd name="connsiteY11" fmla="*/ 3565251 h 4890220"/>
                  <a:gd name="connsiteX12" fmla="*/ 3848361 w 4646892"/>
                  <a:gd name="connsiteY12" fmla="*/ 3609830 h 4890220"/>
                  <a:gd name="connsiteX13" fmla="*/ 4646892 w 4646892"/>
                  <a:gd name="connsiteY13" fmla="*/ 4884410 h 4890220"/>
                  <a:gd name="connsiteX14" fmla="*/ 3291240 w 4646892"/>
                  <a:gd name="connsiteY14" fmla="*/ 4890220 h 4890220"/>
                  <a:gd name="connsiteX15" fmla="*/ 3156349 w 4646892"/>
                  <a:gd name="connsiteY15" fmla="*/ 4752161 h 4890220"/>
                  <a:gd name="connsiteX16" fmla="*/ 2720002 w 4646892"/>
                  <a:gd name="connsiteY16" fmla="*/ 4297432 h 4890220"/>
                  <a:gd name="connsiteX17" fmla="*/ 2054614 w 4646892"/>
                  <a:gd name="connsiteY17" fmla="*/ 4014970 h 4890220"/>
                  <a:gd name="connsiteX18" fmla="*/ 945339 w 4646892"/>
                  <a:gd name="connsiteY18" fmla="*/ 3856405 h 4890220"/>
                  <a:gd name="connsiteX19" fmla="*/ 0 w 4646892"/>
                  <a:gd name="connsiteY19" fmla="*/ 3274405 h 4890220"/>
                  <a:gd name="connsiteX20" fmla="*/ 726186 w 4646892"/>
                  <a:gd name="connsiteY20" fmla="*/ 2511590 h 4890220"/>
                  <a:gd name="connsiteX21" fmla="*/ 1377850 w 4646892"/>
                  <a:gd name="connsiteY21" fmla="*/ 1857227 h 4890220"/>
                  <a:gd name="connsiteX22" fmla="*/ 965025 w 4646892"/>
                  <a:gd name="connsiteY22" fmla="*/ 1611391 h 4890220"/>
                  <a:gd name="connsiteX23" fmla="*/ 553559 w 4646892"/>
                  <a:gd name="connsiteY23" fmla="*/ 1370482 h 4890220"/>
                  <a:gd name="connsiteX24" fmla="*/ 344920 w 4646892"/>
                  <a:gd name="connsiteY24" fmla="*/ 1062960 h 4890220"/>
                  <a:gd name="connsiteX25" fmla="*/ 913758 w 4646892"/>
                  <a:gd name="connsiteY25" fmla="*/ 0 h 4890220"/>
                  <a:gd name="connsiteX0" fmla="*/ 913758 w 4646892"/>
                  <a:gd name="connsiteY0" fmla="*/ 0 h 4890220"/>
                  <a:gd name="connsiteX1" fmla="*/ 1152922 w 4646892"/>
                  <a:gd name="connsiteY1" fmla="*/ 851425 h 4890220"/>
                  <a:gd name="connsiteX2" fmla="*/ 1470555 w 4646892"/>
                  <a:gd name="connsiteY2" fmla="*/ 1159433 h 4890220"/>
                  <a:gd name="connsiteX3" fmla="*/ 1749688 w 4646892"/>
                  <a:gd name="connsiteY3" fmla="*/ 1765825 h 4890220"/>
                  <a:gd name="connsiteX4" fmla="*/ 2019195 w 4646892"/>
                  <a:gd name="connsiteY4" fmla="*/ 1611821 h 4890220"/>
                  <a:gd name="connsiteX5" fmla="*/ 2031160 w 4646892"/>
                  <a:gd name="connsiteY5" fmla="*/ 1818697 h 4890220"/>
                  <a:gd name="connsiteX6" fmla="*/ 1980360 w 4646892"/>
                  <a:gd name="connsiteY6" fmla="*/ 1949930 h 4890220"/>
                  <a:gd name="connsiteX7" fmla="*/ 2279077 w 4646892"/>
                  <a:gd name="connsiteY7" fmla="*/ 2401092 h 4890220"/>
                  <a:gd name="connsiteX8" fmla="*/ 2466488 w 4646892"/>
                  <a:gd name="connsiteY8" fmla="*/ 2759857 h 4890220"/>
                  <a:gd name="connsiteX9" fmla="*/ 2771082 w 4646892"/>
                  <a:gd name="connsiteY9" fmla="*/ 3002843 h 4890220"/>
                  <a:gd name="connsiteX10" fmla="*/ 3043917 w 4646892"/>
                  <a:gd name="connsiteY10" fmla="*/ 3434950 h 4890220"/>
                  <a:gd name="connsiteX11" fmla="*/ 3475240 w 4646892"/>
                  <a:gd name="connsiteY11" fmla="*/ 3565251 h 4890220"/>
                  <a:gd name="connsiteX12" fmla="*/ 3848361 w 4646892"/>
                  <a:gd name="connsiteY12" fmla="*/ 3609830 h 4890220"/>
                  <a:gd name="connsiteX13" fmla="*/ 4646892 w 4646892"/>
                  <a:gd name="connsiteY13" fmla="*/ 4884410 h 4890220"/>
                  <a:gd name="connsiteX14" fmla="*/ 3291240 w 4646892"/>
                  <a:gd name="connsiteY14" fmla="*/ 4890220 h 4890220"/>
                  <a:gd name="connsiteX15" fmla="*/ 3156349 w 4646892"/>
                  <a:gd name="connsiteY15" fmla="*/ 4752161 h 4890220"/>
                  <a:gd name="connsiteX16" fmla="*/ 2720002 w 4646892"/>
                  <a:gd name="connsiteY16" fmla="*/ 4297432 h 4890220"/>
                  <a:gd name="connsiteX17" fmla="*/ 2054614 w 4646892"/>
                  <a:gd name="connsiteY17" fmla="*/ 4014970 h 4890220"/>
                  <a:gd name="connsiteX18" fmla="*/ 945339 w 4646892"/>
                  <a:gd name="connsiteY18" fmla="*/ 3856405 h 4890220"/>
                  <a:gd name="connsiteX19" fmla="*/ 0 w 4646892"/>
                  <a:gd name="connsiteY19" fmla="*/ 3274405 h 4890220"/>
                  <a:gd name="connsiteX20" fmla="*/ 726186 w 4646892"/>
                  <a:gd name="connsiteY20" fmla="*/ 2511590 h 4890220"/>
                  <a:gd name="connsiteX21" fmla="*/ 1377850 w 4646892"/>
                  <a:gd name="connsiteY21" fmla="*/ 1857227 h 4890220"/>
                  <a:gd name="connsiteX22" fmla="*/ 965025 w 4646892"/>
                  <a:gd name="connsiteY22" fmla="*/ 1611391 h 4890220"/>
                  <a:gd name="connsiteX23" fmla="*/ 553559 w 4646892"/>
                  <a:gd name="connsiteY23" fmla="*/ 1370482 h 4890220"/>
                  <a:gd name="connsiteX24" fmla="*/ 877750 w 4646892"/>
                  <a:gd name="connsiteY24" fmla="*/ 1091571 h 4890220"/>
                  <a:gd name="connsiteX25" fmla="*/ 344920 w 4646892"/>
                  <a:gd name="connsiteY25" fmla="*/ 1062960 h 4890220"/>
                  <a:gd name="connsiteX26" fmla="*/ 913758 w 4646892"/>
                  <a:gd name="connsiteY26" fmla="*/ 0 h 4890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646892" h="4890220">
                    <a:moveTo>
                      <a:pt x="913758" y="0"/>
                    </a:moveTo>
                    <a:lnTo>
                      <a:pt x="1152922" y="851425"/>
                    </a:lnTo>
                    <a:lnTo>
                      <a:pt x="1470555" y="1159433"/>
                    </a:lnTo>
                    <a:lnTo>
                      <a:pt x="1749688" y="1765825"/>
                    </a:lnTo>
                    <a:lnTo>
                      <a:pt x="2019195" y="1611821"/>
                    </a:lnTo>
                    <a:cubicBezTo>
                      <a:pt x="2021772" y="1675841"/>
                      <a:pt x="2026466" y="1758910"/>
                      <a:pt x="2031160" y="1818697"/>
                    </a:cubicBezTo>
                    <a:cubicBezTo>
                      <a:pt x="2043154" y="1846919"/>
                      <a:pt x="1968366" y="1921708"/>
                      <a:pt x="1980360" y="1949930"/>
                    </a:cubicBezTo>
                    <a:lnTo>
                      <a:pt x="2279077" y="2401092"/>
                    </a:lnTo>
                    <a:lnTo>
                      <a:pt x="2466488" y="2759857"/>
                    </a:lnTo>
                    <a:lnTo>
                      <a:pt x="2771082" y="3002843"/>
                    </a:lnTo>
                    <a:cubicBezTo>
                      <a:pt x="2894671" y="3102576"/>
                      <a:pt x="2920328" y="3335217"/>
                      <a:pt x="3043917" y="3434950"/>
                    </a:cubicBezTo>
                    <a:lnTo>
                      <a:pt x="3475240" y="3565251"/>
                    </a:lnTo>
                    <a:cubicBezTo>
                      <a:pt x="3524999" y="3622082"/>
                      <a:pt x="3798602" y="3552999"/>
                      <a:pt x="3848361" y="3609830"/>
                    </a:cubicBezTo>
                    <a:lnTo>
                      <a:pt x="4646892" y="4884410"/>
                    </a:lnTo>
                    <a:lnTo>
                      <a:pt x="3291240" y="4890220"/>
                    </a:lnTo>
                    <a:lnTo>
                      <a:pt x="3156349" y="4752161"/>
                    </a:lnTo>
                    <a:cubicBezTo>
                      <a:pt x="3111065" y="4608147"/>
                      <a:pt x="3072723" y="4793685"/>
                      <a:pt x="2720002" y="4297432"/>
                    </a:cubicBezTo>
                    <a:cubicBezTo>
                      <a:pt x="2667876" y="4287484"/>
                      <a:pt x="2106740" y="4024918"/>
                      <a:pt x="2054614" y="4014970"/>
                    </a:cubicBezTo>
                    <a:lnTo>
                      <a:pt x="945339" y="3856405"/>
                    </a:lnTo>
                    <a:lnTo>
                      <a:pt x="0" y="3274405"/>
                    </a:lnTo>
                    <a:cubicBezTo>
                      <a:pt x="371861" y="3026350"/>
                      <a:pt x="354325" y="2759645"/>
                      <a:pt x="726186" y="2511590"/>
                    </a:cubicBezTo>
                    <a:lnTo>
                      <a:pt x="1377850" y="1857227"/>
                    </a:lnTo>
                    <a:lnTo>
                      <a:pt x="965025" y="1611391"/>
                    </a:lnTo>
                    <a:lnTo>
                      <a:pt x="553559" y="1370482"/>
                    </a:lnTo>
                    <a:cubicBezTo>
                      <a:pt x="520165" y="1316373"/>
                      <a:pt x="911144" y="1145680"/>
                      <a:pt x="877750" y="1091571"/>
                    </a:cubicBezTo>
                    <a:lnTo>
                      <a:pt x="344920" y="1062960"/>
                    </a:lnTo>
                    <a:lnTo>
                      <a:pt x="91375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flat" cmpd="sng" algn="ctr">
                <a:solidFill>
                  <a:srgbClr val="DCDCDC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49D0CB64-6F72-4E82-804D-1D8B848720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5887127"/>
                <a:ext cx="6094645" cy="380252"/>
              </a:xfrm>
              <a:custGeom>
                <a:avLst/>
                <a:gdLst>
                  <a:gd name="connsiteX0" fmla="*/ 2964332 w 6094645"/>
                  <a:gd name="connsiteY0" fmla="*/ 0 h 380252"/>
                  <a:gd name="connsiteX1" fmla="*/ 2870890 w 6094645"/>
                  <a:gd name="connsiteY1" fmla="*/ 148432 h 380252"/>
                  <a:gd name="connsiteX2" fmla="*/ 3475344 w 6094645"/>
                  <a:gd name="connsiteY2" fmla="*/ 246425 h 380252"/>
                  <a:gd name="connsiteX3" fmla="*/ 6094645 w 6094645"/>
                  <a:gd name="connsiteY3" fmla="*/ 371800 h 380252"/>
                  <a:gd name="connsiteX4" fmla="*/ 0 w 6094645"/>
                  <a:gd name="connsiteY4" fmla="*/ 380252 h 380252"/>
                  <a:gd name="connsiteX5" fmla="*/ 0 w 6094645"/>
                  <a:gd name="connsiteY5" fmla="*/ 363324 h 380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94645" h="380252">
                    <a:moveTo>
                      <a:pt x="2964332" y="0"/>
                    </a:moveTo>
                    <a:lnTo>
                      <a:pt x="2870890" y="148432"/>
                    </a:lnTo>
                    <a:lnTo>
                      <a:pt x="3475344" y="246425"/>
                    </a:lnTo>
                    <a:lnTo>
                      <a:pt x="6094645" y="371800"/>
                    </a:lnTo>
                    <a:lnTo>
                      <a:pt x="0" y="380252"/>
                    </a:lnTo>
                    <a:lnTo>
                      <a:pt x="0" y="363324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Freeform 114">
                <a:extLst>
                  <a:ext uri="{FF2B5EF4-FFF2-40B4-BE49-F238E27FC236}">
                    <a16:creationId xmlns:a16="http://schemas.microsoft.com/office/drawing/2014/main" id="{5E8F0F2F-E03E-44BA-92C6-81B8D559D6E5}"/>
                  </a:ext>
                </a:extLst>
              </p:cNvPr>
              <p:cNvSpPr/>
              <p:nvPr/>
            </p:nvSpPr>
            <p:spPr>
              <a:xfrm>
                <a:off x="1679858" y="1773251"/>
                <a:ext cx="1375921" cy="1072259"/>
              </a:xfrm>
              <a:custGeom>
                <a:avLst/>
                <a:gdLst>
                  <a:gd name="connsiteX0" fmla="*/ 1061354 w 1641628"/>
                  <a:gd name="connsiteY0" fmla="*/ 0 h 1392808"/>
                  <a:gd name="connsiteX1" fmla="*/ 1301986 w 1641628"/>
                  <a:gd name="connsiteY1" fmla="*/ 856649 h 1392808"/>
                  <a:gd name="connsiteX2" fmla="*/ 1619619 w 1641628"/>
                  <a:gd name="connsiteY2" fmla="*/ 1164657 h 1392808"/>
                  <a:gd name="connsiteX3" fmla="*/ 1641628 w 1641628"/>
                  <a:gd name="connsiteY3" fmla="*/ 1212471 h 1392808"/>
                  <a:gd name="connsiteX4" fmla="*/ 1310274 w 1641628"/>
                  <a:gd name="connsiteY4" fmla="*/ 1291208 h 1392808"/>
                  <a:gd name="connsiteX5" fmla="*/ 1073207 w 1641628"/>
                  <a:gd name="connsiteY5" fmla="*/ 1079541 h 1392808"/>
                  <a:gd name="connsiteX6" fmla="*/ 683741 w 1641628"/>
                  <a:gd name="connsiteY6" fmla="*/ 1392808 h 1392808"/>
                  <a:gd name="connsiteX7" fmla="*/ 514407 w 1641628"/>
                  <a:gd name="connsiteY7" fmla="*/ 1096474 h 1392808"/>
                  <a:gd name="connsiteX8" fmla="*/ 0 w 1641628"/>
                  <a:gd name="connsiteY8" fmla="*/ 1181201 h 1392808"/>
                  <a:gd name="connsiteX9" fmla="*/ 50701 w 1641628"/>
                  <a:gd name="connsiteY9" fmla="*/ 1097281 h 1392808"/>
                  <a:gd name="connsiteX10" fmla="*/ 387586 w 1641628"/>
                  <a:gd name="connsiteY10" fmla="*/ 269508 h 1392808"/>
                  <a:gd name="connsiteX0" fmla="*/ 1061354 w 1641628"/>
                  <a:gd name="connsiteY0" fmla="*/ 0 h 1291208"/>
                  <a:gd name="connsiteX1" fmla="*/ 1301986 w 1641628"/>
                  <a:gd name="connsiteY1" fmla="*/ 856649 h 1291208"/>
                  <a:gd name="connsiteX2" fmla="*/ 1619619 w 1641628"/>
                  <a:gd name="connsiteY2" fmla="*/ 1164657 h 1291208"/>
                  <a:gd name="connsiteX3" fmla="*/ 1641628 w 1641628"/>
                  <a:gd name="connsiteY3" fmla="*/ 1212471 h 1291208"/>
                  <a:gd name="connsiteX4" fmla="*/ 1310274 w 1641628"/>
                  <a:gd name="connsiteY4" fmla="*/ 1291208 h 1291208"/>
                  <a:gd name="connsiteX5" fmla="*/ 1073207 w 1641628"/>
                  <a:gd name="connsiteY5" fmla="*/ 1079541 h 1291208"/>
                  <a:gd name="connsiteX6" fmla="*/ 954221 w 1641628"/>
                  <a:gd name="connsiteY6" fmla="*/ 1154972 h 1291208"/>
                  <a:gd name="connsiteX7" fmla="*/ 514407 w 1641628"/>
                  <a:gd name="connsiteY7" fmla="*/ 1096474 h 1291208"/>
                  <a:gd name="connsiteX8" fmla="*/ 0 w 1641628"/>
                  <a:gd name="connsiteY8" fmla="*/ 1181201 h 1291208"/>
                  <a:gd name="connsiteX9" fmla="*/ 50701 w 1641628"/>
                  <a:gd name="connsiteY9" fmla="*/ 1097281 h 1291208"/>
                  <a:gd name="connsiteX10" fmla="*/ 387586 w 1641628"/>
                  <a:gd name="connsiteY10" fmla="*/ 269508 h 1291208"/>
                  <a:gd name="connsiteX11" fmla="*/ 1061354 w 1641628"/>
                  <a:gd name="connsiteY11" fmla="*/ 0 h 1291208"/>
                  <a:gd name="connsiteX0" fmla="*/ 1061354 w 1641628"/>
                  <a:gd name="connsiteY0" fmla="*/ 0 h 1212471"/>
                  <a:gd name="connsiteX1" fmla="*/ 1301986 w 1641628"/>
                  <a:gd name="connsiteY1" fmla="*/ 856649 h 1212471"/>
                  <a:gd name="connsiteX2" fmla="*/ 1619619 w 1641628"/>
                  <a:gd name="connsiteY2" fmla="*/ 1164657 h 1212471"/>
                  <a:gd name="connsiteX3" fmla="*/ 1641628 w 1641628"/>
                  <a:gd name="connsiteY3" fmla="*/ 1212471 h 1212471"/>
                  <a:gd name="connsiteX4" fmla="*/ 1275299 w 1641628"/>
                  <a:gd name="connsiteY4" fmla="*/ 1158300 h 1212471"/>
                  <a:gd name="connsiteX5" fmla="*/ 1073207 w 1641628"/>
                  <a:gd name="connsiteY5" fmla="*/ 1079541 h 1212471"/>
                  <a:gd name="connsiteX6" fmla="*/ 954221 w 1641628"/>
                  <a:gd name="connsiteY6" fmla="*/ 1154972 h 1212471"/>
                  <a:gd name="connsiteX7" fmla="*/ 514407 w 1641628"/>
                  <a:gd name="connsiteY7" fmla="*/ 1096474 h 1212471"/>
                  <a:gd name="connsiteX8" fmla="*/ 0 w 1641628"/>
                  <a:gd name="connsiteY8" fmla="*/ 1181201 h 1212471"/>
                  <a:gd name="connsiteX9" fmla="*/ 50701 w 1641628"/>
                  <a:gd name="connsiteY9" fmla="*/ 1097281 h 1212471"/>
                  <a:gd name="connsiteX10" fmla="*/ 387586 w 1641628"/>
                  <a:gd name="connsiteY10" fmla="*/ 269508 h 1212471"/>
                  <a:gd name="connsiteX11" fmla="*/ 1061354 w 1641628"/>
                  <a:gd name="connsiteY11" fmla="*/ 0 h 1212471"/>
                  <a:gd name="connsiteX0" fmla="*/ 1061354 w 1641628"/>
                  <a:gd name="connsiteY0" fmla="*/ 0 h 1212471"/>
                  <a:gd name="connsiteX1" fmla="*/ 1301986 w 1641628"/>
                  <a:gd name="connsiteY1" fmla="*/ 856649 h 1212471"/>
                  <a:gd name="connsiteX2" fmla="*/ 1619619 w 1641628"/>
                  <a:gd name="connsiteY2" fmla="*/ 1164657 h 1212471"/>
                  <a:gd name="connsiteX3" fmla="*/ 1641628 w 1641628"/>
                  <a:gd name="connsiteY3" fmla="*/ 1212471 h 1212471"/>
                  <a:gd name="connsiteX4" fmla="*/ 1591087 w 1641628"/>
                  <a:gd name="connsiteY4" fmla="*/ 1199183 h 1212471"/>
                  <a:gd name="connsiteX5" fmla="*/ 1275299 w 1641628"/>
                  <a:gd name="connsiteY5" fmla="*/ 1158300 h 1212471"/>
                  <a:gd name="connsiteX6" fmla="*/ 1073207 w 1641628"/>
                  <a:gd name="connsiteY6" fmla="*/ 1079541 h 1212471"/>
                  <a:gd name="connsiteX7" fmla="*/ 954221 w 1641628"/>
                  <a:gd name="connsiteY7" fmla="*/ 1154972 h 1212471"/>
                  <a:gd name="connsiteX8" fmla="*/ 514407 w 1641628"/>
                  <a:gd name="connsiteY8" fmla="*/ 1096474 h 1212471"/>
                  <a:gd name="connsiteX9" fmla="*/ 0 w 1641628"/>
                  <a:gd name="connsiteY9" fmla="*/ 1181201 h 1212471"/>
                  <a:gd name="connsiteX10" fmla="*/ 50701 w 1641628"/>
                  <a:gd name="connsiteY10" fmla="*/ 1097281 h 1212471"/>
                  <a:gd name="connsiteX11" fmla="*/ 387586 w 1641628"/>
                  <a:gd name="connsiteY11" fmla="*/ 269508 h 1212471"/>
                  <a:gd name="connsiteX12" fmla="*/ 1061354 w 1641628"/>
                  <a:gd name="connsiteY12" fmla="*/ 0 h 1212471"/>
                  <a:gd name="connsiteX0" fmla="*/ 1061354 w 1619619"/>
                  <a:gd name="connsiteY0" fmla="*/ 0 h 1199217"/>
                  <a:gd name="connsiteX1" fmla="*/ 1301986 w 1619619"/>
                  <a:gd name="connsiteY1" fmla="*/ 856649 h 1199217"/>
                  <a:gd name="connsiteX2" fmla="*/ 1619619 w 1619619"/>
                  <a:gd name="connsiteY2" fmla="*/ 1164657 h 1199217"/>
                  <a:gd name="connsiteX3" fmla="*/ 1515715 w 1619619"/>
                  <a:gd name="connsiteY3" fmla="*/ 1107544 h 1199217"/>
                  <a:gd name="connsiteX4" fmla="*/ 1591087 w 1619619"/>
                  <a:gd name="connsiteY4" fmla="*/ 1199183 h 1199217"/>
                  <a:gd name="connsiteX5" fmla="*/ 1275299 w 1619619"/>
                  <a:gd name="connsiteY5" fmla="*/ 1158300 h 1199217"/>
                  <a:gd name="connsiteX6" fmla="*/ 1073207 w 1619619"/>
                  <a:gd name="connsiteY6" fmla="*/ 1079541 h 1199217"/>
                  <a:gd name="connsiteX7" fmla="*/ 954221 w 1619619"/>
                  <a:gd name="connsiteY7" fmla="*/ 1154972 h 1199217"/>
                  <a:gd name="connsiteX8" fmla="*/ 514407 w 1619619"/>
                  <a:gd name="connsiteY8" fmla="*/ 1096474 h 1199217"/>
                  <a:gd name="connsiteX9" fmla="*/ 0 w 1619619"/>
                  <a:gd name="connsiteY9" fmla="*/ 1181201 h 1199217"/>
                  <a:gd name="connsiteX10" fmla="*/ 50701 w 1619619"/>
                  <a:gd name="connsiteY10" fmla="*/ 1097281 h 1199217"/>
                  <a:gd name="connsiteX11" fmla="*/ 387586 w 1619619"/>
                  <a:gd name="connsiteY11" fmla="*/ 269508 h 1199217"/>
                  <a:gd name="connsiteX12" fmla="*/ 1061354 w 1619619"/>
                  <a:gd name="connsiteY12" fmla="*/ 0 h 1199217"/>
                  <a:gd name="connsiteX0" fmla="*/ 1061354 w 1619619"/>
                  <a:gd name="connsiteY0" fmla="*/ 0 h 1181201"/>
                  <a:gd name="connsiteX1" fmla="*/ 1301986 w 1619619"/>
                  <a:gd name="connsiteY1" fmla="*/ 856649 h 1181201"/>
                  <a:gd name="connsiteX2" fmla="*/ 1619619 w 1619619"/>
                  <a:gd name="connsiteY2" fmla="*/ 1164657 h 1181201"/>
                  <a:gd name="connsiteX3" fmla="*/ 1515715 w 1619619"/>
                  <a:gd name="connsiteY3" fmla="*/ 1107544 h 1181201"/>
                  <a:gd name="connsiteX4" fmla="*/ 1275299 w 1619619"/>
                  <a:gd name="connsiteY4" fmla="*/ 1158300 h 1181201"/>
                  <a:gd name="connsiteX5" fmla="*/ 1073207 w 1619619"/>
                  <a:gd name="connsiteY5" fmla="*/ 1079541 h 1181201"/>
                  <a:gd name="connsiteX6" fmla="*/ 954221 w 1619619"/>
                  <a:gd name="connsiteY6" fmla="*/ 1154972 h 1181201"/>
                  <a:gd name="connsiteX7" fmla="*/ 514407 w 1619619"/>
                  <a:gd name="connsiteY7" fmla="*/ 1096474 h 1181201"/>
                  <a:gd name="connsiteX8" fmla="*/ 0 w 1619619"/>
                  <a:gd name="connsiteY8" fmla="*/ 1181201 h 1181201"/>
                  <a:gd name="connsiteX9" fmla="*/ 50701 w 1619619"/>
                  <a:gd name="connsiteY9" fmla="*/ 1097281 h 1181201"/>
                  <a:gd name="connsiteX10" fmla="*/ 387586 w 1619619"/>
                  <a:gd name="connsiteY10" fmla="*/ 269508 h 1181201"/>
                  <a:gd name="connsiteX11" fmla="*/ 1061354 w 1619619"/>
                  <a:gd name="connsiteY11" fmla="*/ 0 h 1181201"/>
                  <a:gd name="connsiteX0" fmla="*/ 1061354 w 1515715"/>
                  <a:gd name="connsiteY0" fmla="*/ 0 h 1181201"/>
                  <a:gd name="connsiteX1" fmla="*/ 1301986 w 1515715"/>
                  <a:gd name="connsiteY1" fmla="*/ 856649 h 1181201"/>
                  <a:gd name="connsiteX2" fmla="*/ 1515715 w 1515715"/>
                  <a:gd name="connsiteY2" fmla="*/ 1107544 h 1181201"/>
                  <a:gd name="connsiteX3" fmla="*/ 1275299 w 1515715"/>
                  <a:gd name="connsiteY3" fmla="*/ 1158300 h 1181201"/>
                  <a:gd name="connsiteX4" fmla="*/ 1073207 w 1515715"/>
                  <a:gd name="connsiteY4" fmla="*/ 1079541 h 1181201"/>
                  <a:gd name="connsiteX5" fmla="*/ 954221 w 1515715"/>
                  <a:gd name="connsiteY5" fmla="*/ 1154972 h 1181201"/>
                  <a:gd name="connsiteX6" fmla="*/ 514407 w 1515715"/>
                  <a:gd name="connsiteY6" fmla="*/ 1096474 h 1181201"/>
                  <a:gd name="connsiteX7" fmla="*/ 0 w 1515715"/>
                  <a:gd name="connsiteY7" fmla="*/ 1181201 h 1181201"/>
                  <a:gd name="connsiteX8" fmla="*/ 50701 w 1515715"/>
                  <a:gd name="connsiteY8" fmla="*/ 1097281 h 1181201"/>
                  <a:gd name="connsiteX9" fmla="*/ 387586 w 1515715"/>
                  <a:gd name="connsiteY9" fmla="*/ 269508 h 1181201"/>
                  <a:gd name="connsiteX10" fmla="*/ 1061354 w 1515715"/>
                  <a:gd name="connsiteY10" fmla="*/ 0 h 1181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15715" h="1181201">
                    <a:moveTo>
                      <a:pt x="1061354" y="0"/>
                    </a:moveTo>
                    <a:lnTo>
                      <a:pt x="1301986" y="856649"/>
                    </a:lnTo>
                    <a:lnTo>
                      <a:pt x="1515715" y="1107544"/>
                    </a:lnTo>
                    <a:cubicBezTo>
                      <a:pt x="1458328" y="1106485"/>
                      <a:pt x="1349050" y="1162967"/>
                      <a:pt x="1275299" y="1158300"/>
                    </a:cubicBezTo>
                    <a:lnTo>
                      <a:pt x="1073207" y="1079541"/>
                    </a:lnTo>
                    <a:lnTo>
                      <a:pt x="954221" y="1154972"/>
                    </a:lnTo>
                    <a:lnTo>
                      <a:pt x="514407" y="1096474"/>
                    </a:lnTo>
                    <a:lnTo>
                      <a:pt x="0" y="1181201"/>
                    </a:lnTo>
                    <a:lnTo>
                      <a:pt x="50701" y="1097281"/>
                    </a:lnTo>
                    <a:lnTo>
                      <a:pt x="387586" y="269508"/>
                    </a:lnTo>
                    <a:lnTo>
                      <a:pt x="106135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 cmpd="sng" algn="ctr">
                <a:solidFill>
                  <a:srgbClr val="D9D9D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8" name="Freeform 116">
                <a:extLst>
                  <a:ext uri="{FF2B5EF4-FFF2-40B4-BE49-F238E27FC236}">
                    <a16:creationId xmlns:a16="http://schemas.microsoft.com/office/drawing/2014/main" id="{982F78E6-AD8A-4FBF-989D-9AF6734AA511}"/>
                  </a:ext>
                </a:extLst>
              </p:cNvPr>
              <p:cNvSpPr/>
              <p:nvPr/>
            </p:nvSpPr>
            <p:spPr>
              <a:xfrm>
                <a:off x="2416147" y="1807439"/>
                <a:ext cx="667868" cy="1040378"/>
              </a:xfrm>
              <a:custGeom>
                <a:avLst/>
                <a:gdLst>
                  <a:gd name="connsiteX0" fmla="*/ 251725 w 830532"/>
                  <a:gd name="connsiteY0" fmla="*/ 0 h 1285984"/>
                  <a:gd name="connsiteX1" fmla="*/ 490889 w 830532"/>
                  <a:gd name="connsiteY1" fmla="*/ 851425 h 1285984"/>
                  <a:gd name="connsiteX2" fmla="*/ 808522 w 830532"/>
                  <a:gd name="connsiteY2" fmla="*/ 1159433 h 1285984"/>
                  <a:gd name="connsiteX3" fmla="*/ 830532 w 830532"/>
                  <a:gd name="connsiteY3" fmla="*/ 1207247 h 1285984"/>
                  <a:gd name="connsiteX4" fmla="*/ 499177 w 830532"/>
                  <a:gd name="connsiteY4" fmla="*/ 1285984 h 1285984"/>
                  <a:gd name="connsiteX5" fmla="*/ 262110 w 830532"/>
                  <a:gd name="connsiteY5" fmla="*/ 1074317 h 1285984"/>
                  <a:gd name="connsiteX6" fmla="*/ 250148 w 830532"/>
                  <a:gd name="connsiteY6" fmla="*/ 1083939 h 1285984"/>
                  <a:gd name="connsiteX7" fmla="*/ 0 w 830532"/>
                  <a:gd name="connsiteY7" fmla="*/ 755172 h 1285984"/>
                  <a:gd name="connsiteX0" fmla="*/ 251725 w 830532"/>
                  <a:gd name="connsiteY0" fmla="*/ 0 h 1285984"/>
                  <a:gd name="connsiteX1" fmla="*/ 490889 w 830532"/>
                  <a:gd name="connsiteY1" fmla="*/ 851425 h 1285984"/>
                  <a:gd name="connsiteX2" fmla="*/ 830532 w 830532"/>
                  <a:gd name="connsiteY2" fmla="*/ 1207247 h 1285984"/>
                  <a:gd name="connsiteX3" fmla="*/ 499177 w 830532"/>
                  <a:gd name="connsiteY3" fmla="*/ 1285984 h 1285984"/>
                  <a:gd name="connsiteX4" fmla="*/ 262110 w 830532"/>
                  <a:gd name="connsiteY4" fmla="*/ 1074317 h 1285984"/>
                  <a:gd name="connsiteX5" fmla="*/ 250148 w 830532"/>
                  <a:gd name="connsiteY5" fmla="*/ 1083939 h 1285984"/>
                  <a:gd name="connsiteX6" fmla="*/ 0 w 830532"/>
                  <a:gd name="connsiteY6" fmla="*/ 755172 h 1285984"/>
                  <a:gd name="connsiteX7" fmla="*/ 251725 w 830532"/>
                  <a:gd name="connsiteY7" fmla="*/ 0 h 1285984"/>
                  <a:gd name="connsiteX0" fmla="*/ 251725 w 868632"/>
                  <a:gd name="connsiteY0" fmla="*/ 0 h 1285984"/>
                  <a:gd name="connsiteX1" fmla="*/ 490889 w 868632"/>
                  <a:gd name="connsiteY1" fmla="*/ 851425 h 1285984"/>
                  <a:gd name="connsiteX2" fmla="*/ 868632 w 868632"/>
                  <a:gd name="connsiteY2" fmla="*/ 1177613 h 1285984"/>
                  <a:gd name="connsiteX3" fmla="*/ 499177 w 868632"/>
                  <a:gd name="connsiteY3" fmla="*/ 1285984 h 1285984"/>
                  <a:gd name="connsiteX4" fmla="*/ 262110 w 868632"/>
                  <a:gd name="connsiteY4" fmla="*/ 1074317 h 1285984"/>
                  <a:gd name="connsiteX5" fmla="*/ 250148 w 868632"/>
                  <a:gd name="connsiteY5" fmla="*/ 1083939 h 1285984"/>
                  <a:gd name="connsiteX6" fmla="*/ 0 w 868632"/>
                  <a:gd name="connsiteY6" fmla="*/ 755172 h 1285984"/>
                  <a:gd name="connsiteX7" fmla="*/ 251725 w 868632"/>
                  <a:gd name="connsiteY7" fmla="*/ 0 h 1285984"/>
                  <a:gd name="connsiteX0" fmla="*/ 251725 w 868632"/>
                  <a:gd name="connsiteY0" fmla="*/ 0 h 1285984"/>
                  <a:gd name="connsiteX1" fmla="*/ 495122 w 868632"/>
                  <a:gd name="connsiteY1" fmla="*/ 817558 h 1285984"/>
                  <a:gd name="connsiteX2" fmla="*/ 868632 w 868632"/>
                  <a:gd name="connsiteY2" fmla="*/ 1177613 h 1285984"/>
                  <a:gd name="connsiteX3" fmla="*/ 499177 w 868632"/>
                  <a:gd name="connsiteY3" fmla="*/ 1285984 h 1285984"/>
                  <a:gd name="connsiteX4" fmla="*/ 262110 w 868632"/>
                  <a:gd name="connsiteY4" fmla="*/ 1074317 h 1285984"/>
                  <a:gd name="connsiteX5" fmla="*/ 250148 w 868632"/>
                  <a:gd name="connsiteY5" fmla="*/ 1083939 h 1285984"/>
                  <a:gd name="connsiteX6" fmla="*/ 0 w 868632"/>
                  <a:gd name="connsiteY6" fmla="*/ 755172 h 1285984"/>
                  <a:gd name="connsiteX7" fmla="*/ 251725 w 868632"/>
                  <a:gd name="connsiteY7" fmla="*/ 0 h 1285984"/>
                  <a:gd name="connsiteX0" fmla="*/ 251725 w 868632"/>
                  <a:gd name="connsiteY0" fmla="*/ 0 h 1177613"/>
                  <a:gd name="connsiteX1" fmla="*/ 495122 w 868632"/>
                  <a:gd name="connsiteY1" fmla="*/ 817558 h 1177613"/>
                  <a:gd name="connsiteX2" fmla="*/ 868632 w 868632"/>
                  <a:gd name="connsiteY2" fmla="*/ 1177613 h 1177613"/>
                  <a:gd name="connsiteX3" fmla="*/ 485187 w 868632"/>
                  <a:gd name="connsiteY3" fmla="*/ 1146081 h 1177613"/>
                  <a:gd name="connsiteX4" fmla="*/ 262110 w 868632"/>
                  <a:gd name="connsiteY4" fmla="*/ 1074317 h 1177613"/>
                  <a:gd name="connsiteX5" fmla="*/ 250148 w 868632"/>
                  <a:gd name="connsiteY5" fmla="*/ 1083939 h 1177613"/>
                  <a:gd name="connsiteX6" fmla="*/ 0 w 868632"/>
                  <a:gd name="connsiteY6" fmla="*/ 755172 h 1177613"/>
                  <a:gd name="connsiteX7" fmla="*/ 251725 w 868632"/>
                  <a:gd name="connsiteY7" fmla="*/ 0 h 1177613"/>
                  <a:gd name="connsiteX0" fmla="*/ 251725 w 833656"/>
                  <a:gd name="connsiteY0" fmla="*/ 0 h 1163623"/>
                  <a:gd name="connsiteX1" fmla="*/ 495122 w 833656"/>
                  <a:gd name="connsiteY1" fmla="*/ 817558 h 1163623"/>
                  <a:gd name="connsiteX2" fmla="*/ 833656 w 833656"/>
                  <a:gd name="connsiteY2" fmla="*/ 1163623 h 1163623"/>
                  <a:gd name="connsiteX3" fmla="*/ 485187 w 833656"/>
                  <a:gd name="connsiteY3" fmla="*/ 1146081 h 1163623"/>
                  <a:gd name="connsiteX4" fmla="*/ 262110 w 833656"/>
                  <a:gd name="connsiteY4" fmla="*/ 1074317 h 1163623"/>
                  <a:gd name="connsiteX5" fmla="*/ 250148 w 833656"/>
                  <a:gd name="connsiteY5" fmla="*/ 1083939 h 1163623"/>
                  <a:gd name="connsiteX6" fmla="*/ 0 w 833656"/>
                  <a:gd name="connsiteY6" fmla="*/ 755172 h 1163623"/>
                  <a:gd name="connsiteX7" fmla="*/ 251725 w 833656"/>
                  <a:gd name="connsiteY7" fmla="*/ 0 h 1163623"/>
                  <a:gd name="connsiteX0" fmla="*/ 251725 w 735724"/>
                  <a:gd name="connsiteY0" fmla="*/ 0 h 1146081"/>
                  <a:gd name="connsiteX1" fmla="*/ 495122 w 735724"/>
                  <a:gd name="connsiteY1" fmla="*/ 817558 h 1146081"/>
                  <a:gd name="connsiteX2" fmla="*/ 735724 w 735724"/>
                  <a:gd name="connsiteY2" fmla="*/ 1079681 h 1146081"/>
                  <a:gd name="connsiteX3" fmla="*/ 485187 w 735724"/>
                  <a:gd name="connsiteY3" fmla="*/ 1146081 h 1146081"/>
                  <a:gd name="connsiteX4" fmla="*/ 262110 w 735724"/>
                  <a:gd name="connsiteY4" fmla="*/ 1074317 h 1146081"/>
                  <a:gd name="connsiteX5" fmla="*/ 250148 w 735724"/>
                  <a:gd name="connsiteY5" fmla="*/ 1083939 h 1146081"/>
                  <a:gd name="connsiteX6" fmla="*/ 0 w 735724"/>
                  <a:gd name="connsiteY6" fmla="*/ 755172 h 1146081"/>
                  <a:gd name="connsiteX7" fmla="*/ 251725 w 735724"/>
                  <a:gd name="connsiteY7" fmla="*/ 0 h 1146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5724" h="1146081">
                    <a:moveTo>
                      <a:pt x="251725" y="0"/>
                    </a:moveTo>
                    <a:lnTo>
                      <a:pt x="495122" y="817558"/>
                    </a:lnTo>
                    <a:lnTo>
                      <a:pt x="735724" y="1079681"/>
                    </a:lnTo>
                    <a:lnTo>
                      <a:pt x="485187" y="1146081"/>
                    </a:lnTo>
                    <a:lnTo>
                      <a:pt x="262110" y="1074317"/>
                    </a:lnTo>
                    <a:lnTo>
                      <a:pt x="250148" y="1083939"/>
                    </a:lnTo>
                    <a:lnTo>
                      <a:pt x="0" y="755172"/>
                    </a:lnTo>
                    <a:lnTo>
                      <a:pt x="251725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 algn="ctr">
                <a:solidFill>
                  <a:srgbClr val="D9D9D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9" name="Picture 82">
                <a:extLst>
                  <a:ext uri="{FF2B5EF4-FFF2-40B4-BE49-F238E27FC236}">
                    <a16:creationId xmlns:a16="http://schemas.microsoft.com/office/drawing/2014/main" id="{B9BDF59B-8420-4240-9259-533A707DBF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64904" y="1431896"/>
                <a:ext cx="392727" cy="389706"/>
              </a:xfrm>
              <a:prstGeom prst="rect">
                <a:avLst/>
              </a:prstGeom>
            </p:spPr>
          </p:pic>
          <p:pic>
            <p:nvPicPr>
              <p:cNvPr id="130" name="Picture 83">
                <a:extLst>
                  <a:ext uri="{FF2B5EF4-FFF2-40B4-BE49-F238E27FC236}">
                    <a16:creationId xmlns:a16="http://schemas.microsoft.com/office/drawing/2014/main" id="{9D266FF7-67E0-45F7-ABC5-7B2EADB17F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colorTemperature colorTemp="4700"/>
                        </a14:imgEffect>
                        <a14:imgEffect>
                          <a14:brightnessContrast bright="40000" contras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3069155" y="1220125"/>
                <a:ext cx="374134" cy="394959"/>
              </a:xfrm>
              <a:prstGeom prst="rect">
                <a:avLst/>
              </a:prstGeom>
            </p:spPr>
          </p:pic>
          <p:sp>
            <p:nvSpPr>
              <p:cNvPr id="131" name="Freeform 40">
                <a:extLst>
                  <a:ext uri="{FF2B5EF4-FFF2-40B4-BE49-F238E27FC236}">
                    <a16:creationId xmlns:a16="http://schemas.microsoft.com/office/drawing/2014/main" id="{C991EDA7-C673-4E0D-8FA4-B73D4DF81B18}"/>
                  </a:ext>
                </a:extLst>
              </p:cNvPr>
              <p:cNvSpPr/>
              <p:nvPr/>
            </p:nvSpPr>
            <p:spPr>
              <a:xfrm>
                <a:off x="766454" y="2783970"/>
                <a:ext cx="968409" cy="1369607"/>
              </a:xfrm>
              <a:custGeom>
                <a:avLst/>
                <a:gdLst>
                  <a:gd name="connsiteX0" fmla="*/ 0 w 1066800"/>
                  <a:gd name="connsiteY0" fmla="*/ 1508760 h 1508760"/>
                  <a:gd name="connsiteX1" fmla="*/ 264160 w 1066800"/>
                  <a:gd name="connsiteY1" fmla="*/ 1183640 h 1508760"/>
                  <a:gd name="connsiteX2" fmla="*/ 619760 w 1066800"/>
                  <a:gd name="connsiteY2" fmla="*/ 1102360 h 1508760"/>
                  <a:gd name="connsiteX3" fmla="*/ 787400 w 1066800"/>
                  <a:gd name="connsiteY3" fmla="*/ 472440 h 1508760"/>
                  <a:gd name="connsiteX4" fmla="*/ 1066800 w 1066800"/>
                  <a:gd name="connsiteY4" fmla="*/ 0 h 150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6800" h="1508760">
                    <a:moveTo>
                      <a:pt x="0" y="1508760"/>
                    </a:moveTo>
                    <a:lnTo>
                      <a:pt x="264160" y="1183640"/>
                    </a:lnTo>
                    <a:lnTo>
                      <a:pt x="619760" y="1102360"/>
                    </a:lnTo>
                    <a:lnTo>
                      <a:pt x="787400" y="472440"/>
                    </a:lnTo>
                    <a:lnTo>
                      <a:pt x="1066800" y="0"/>
                    </a:lnTo>
                  </a:path>
                </a:pathLst>
              </a:custGeom>
              <a:noFill/>
              <a:ln w="15875" cap="rnd" cmpd="sng" algn="ctr">
                <a:solidFill>
                  <a:schemeClr val="bg1">
                    <a:lumMod val="65000"/>
                  </a:schemeClr>
                </a:solidFill>
                <a:prstDash val="sysDash"/>
                <a:round/>
                <a:headEnd type="none" w="lg" len="lg"/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Freeform 41">
                <a:extLst>
                  <a:ext uri="{FF2B5EF4-FFF2-40B4-BE49-F238E27FC236}">
                    <a16:creationId xmlns:a16="http://schemas.microsoft.com/office/drawing/2014/main" id="{5C7A746D-BA21-47E3-84D1-04874CE0B73F}"/>
                  </a:ext>
                </a:extLst>
              </p:cNvPr>
              <p:cNvSpPr/>
              <p:nvPr/>
            </p:nvSpPr>
            <p:spPr>
              <a:xfrm>
                <a:off x="2285454" y="2774747"/>
                <a:ext cx="757544" cy="1374145"/>
              </a:xfrm>
              <a:custGeom>
                <a:avLst/>
                <a:gdLst>
                  <a:gd name="connsiteX0" fmla="*/ 45720 w 289560"/>
                  <a:gd name="connsiteY0" fmla="*/ 0 h 1569720"/>
                  <a:gd name="connsiteX1" fmla="*/ 111760 w 289560"/>
                  <a:gd name="connsiteY1" fmla="*/ 142240 h 1569720"/>
                  <a:gd name="connsiteX2" fmla="*/ 0 w 289560"/>
                  <a:gd name="connsiteY2" fmla="*/ 762000 h 1569720"/>
                  <a:gd name="connsiteX3" fmla="*/ 167640 w 289560"/>
                  <a:gd name="connsiteY3" fmla="*/ 939800 h 1569720"/>
                  <a:gd name="connsiteX4" fmla="*/ 289560 w 289560"/>
                  <a:gd name="connsiteY4" fmla="*/ 1569720 h 1569720"/>
                  <a:gd name="connsiteX0" fmla="*/ 290185 w 414498"/>
                  <a:gd name="connsiteY0" fmla="*/ 0 h 1513759"/>
                  <a:gd name="connsiteX1" fmla="*/ 356225 w 414498"/>
                  <a:gd name="connsiteY1" fmla="*/ 142240 h 1513759"/>
                  <a:gd name="connsiteX2" fmla="*/ 244465 w 414498"/>
                  <a:gd name="connsiteY2" fmla="*/ 762000 h 1513759"/>
                  <a:gd name="connsiteX3" fmla="*/ 412105 w 414498"/>
                  <a:gd name="connsiteY3" fmla="*/ 939800 h 1513759"/>
                  <a:gd name="connsiteX4" fmla="*/ 2393 w 414498"/>
                  <a:gd name="connsiteY4" fmla="*/ 1513759 h 1513759"/>
                  <a:gd name="connsiteX0" fmla="*/ 287792 w 413314"/>
                  <a:gd name="connsiteY0" fmla="*/ 0 h 1513759"/>
                  <a:gd name="connsiteX1" fmla="*/ 353832 w 413314"/>
                  <a:gd name="connsiteY1" fmla="*/ 142240 h 1513759"/>
                  <a:gd name="connsiteX2" fmla="*/ 242072 w 413314"/>
                  <a:gd name="connsiteY2" fmla="*/ 762000 h 1513759"/>
                  <a:gd name="connsiteX3" fmla="*/ 409712 w 413314"/>
                  <a:gd name="connsiteY3" fmla="*/ 939800 h 1513759"/>
                  <a:gd name="connsiteX4" fmla="*/ 0 w 413314"/>
                  <a:gd name="connsiteY4" fmla="*/ 1513759 h 1513759"/>
                  <a:gd name="connsiteX0" fmla="*/ 287792 w 728705"/>
                  <a:gd name="connsiteY0" fmla="*/ 0 h 1513759"/>
                  <a:gd name="connsiteX1" fmla="*/ 353832 w 728705"/>
                  <a:gd name="connsiteY1" fmla="*/ 142240 h 1513759"/>
                  <a:gd name="connsiteX2" fmla="*/ 242072 w 728705"/>
                  <a:gd name="connsiteY2" fmla="*/ 762000 h 1513759"/>
                  <a:gd name="connsiteX3" fmla="*/ 726826 w 728705"/>
                  <a:gd name="connsiteY3" fmla="*/ 715954 h 1513759"/>
                  <a:gd name="connsiteX4" fmla="*/ 0 w 728705"/>
                  <a:gd name="connsiteY4" fmla="*/ 1513759 h 1513759"/>
                  <a:gd name="connsiteX0" fmla="*/ 409468 w 850380"/>
                  <a:gd name="connsiteY0" fmla="*/ 0 h 1513759"/>
                  <a:gd name="connsiteX1" fmla="*/ 475508 w 850380"/>
                  <a:gd name="connsiteY1" fmla="*/ 142240 h 1513759"/>
                  <a:gd name="connsiteX2" fmla="*/ 0 w 850380"/>
                  <a:gd name="connsiteY2" fmla="*/ 295656 h 1513759"/>
                  <a:gd name="connsiteX3" fmla="*/ 848502 w 850380"/>
                  <a:gd name="connsiteY3" fmla="*/ 715954 h 1513759"/>
                  <a:gd name="connsiteX4" fmla="*/ 121676 w 850380"/>
                  <a:gd name="connsiteY4" fmla="*/ 1513759 h 1513759"/>
                  <a:gd name="connsiteX0" fmla="*/ 409468 w 850380"/>
                  <a:gd name="connsiteY0" fmla="*/ 0 h 1513759"/>
                  <a:gd name="connsiteX1" fmla="*/ 335605 w 850380"/>
                  <a:gd name="connsiteY1" fmla="*/ 58298 h 1513759"/>
                  <a:gd name="connsiteX2" fmla="*/ 0 w 850380"/>
                  <a:gd name="connsiteY2" fmla="*/ 295656 h 1513759"/>
                  <a:gd name="connsiteX3" fmla="*/ 848502 w 850380"/>
                  <a:gd name="connsiteY3" fmla="*/ 715954 h 1513759"/>
                  <a:gd name="connsiteX4" fmla="*/ 121676 w 850380"/>
                  <a:gd name="connsiteY4" fmla="*/ 1513759 h 1513759"/>
                  <a:gd name="connsiteX0" fmla="*/ 409468 w 836429"/>
                  <a:gd name="connsiteY0" fmla="*/ 0 h 1513759"/>
                  <a:gd name="connsiteX1" fmla="*/ 335605 w 836429"/>
                  <a:gd name="connsiteY1" fmla="*/ 58298 h 1513759"/>
                  <a:gd name="connsiteX2" fmla="*/ 0 w 836429"/>
                  <a:gd name="connsiteY2" fmla="*/ 295656 h 1513759"/>
                  <a:gd name="connsiteX3" fmla="*/ 834511 w 836429"/>
                  <a:gd name="connsiteY3" fmla="*/ 771916 h 1513759"/>
                  <a:gd name="connsiteX4" fmla="*/ 121676 w 836429"/>
                  <a:gd name="connsiteY4" fmla="*/ 1513759 h 1513759"/>
                  <a:gd name="connsiteX0" fmla="*/ 409468 w 834511"/>
                  <a:gd name="connsiteY0" fmla="*/ 0 h 1513759"/>
                  <a:gd name="connsiteX1" fmla="*/ 335605 w 834511"/>
                  <a:gd name="connsiteY1" fmla="*/ 58298 h 1513759"/>
                  <a:gd name="connsiteX2" fmla="*/ 0 w 834511"/>
                  <a:gd name="connsiteY2" fmla="*/ 295656 h 1513759"/>
                  <a:gd name="connsiteX3" fmla="*/ 834511 w 834511"/>
                  <a:gd name="connsiteY3" fmla="*/ 771916 h 1513759"/>
                  <a:gd name="connsiteX4" fmla="*/ 121676 w 834511"/>
                  <a:gd name="connsiteY4" fmla="*/ 1513759 h 1513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4511" h="1513759">
                    <a:moveTo>
                      <a:pt x="409468" y="0"/>
                    </a:moveTo>
                    <a:lnTo>
                      <a:pt x="335605" y="58298"/>
                    </a:lnTo>
                    <a:lnTo>
                      <a:pt x="0" y="295656"/>
                    </a:lnTo>
                    <a:lnTo>
                      <a:pt x="834511" y="771916"/>
                    </a:lnTo>
                    <a:cubicBezTo>
                      <a:pt x="828517" y="907274"/>
                      <a:pt x="258248" y="1359748"/>
                      <a:pt x="121676" y="1513759"/>
                    </a:cubicBezTo>
                  </a:path>
                </a:pathLst>
              </a:custGeom>
              <a:noFill/>
              <a:ln w="15875" cap="rnd" cmpd="sng" algn="ctr">
                <a:solidFill>
                  <a:schemeClr val="bg1">
                    <a:lumMod val="65000"/>
                  </a:schemeClr>
                </a:solidFill>
                <a:prstDash val="sysDash"/>
                <a:round/>
                <a:headEnd type="triangle" w="lg" len="lg"/>
                <a:tailEnd type="non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Freeform 42">
                <a:extLst>
                  <a:ext uri="{FF2B5EF4-FFF2-40B4-BE49-F238E27FC236}">
                    <a16:creationId xmlns:a16="http://schemas.microsoft.com/office/drawing/2014/main" id="{9A297A4D-590B-474F-8617-73402D7525A4}"/>
                  </a:ext>
                </a:extLst>
              </p:cNvPr>
              <p:cNvSpPr/>
              <p:nvPr/>
            </p:nvSpPr>
            <p:spPr>
              <a:xfrm>
                <a:off x="3145505" y="2857828"/>
                <a:ext cx="843283" cy="1346476"/>
              </a:xfrm>
              <a:custGeom>
                <a:avLst/>
                <a:gdLst>
                  <a:gd name="connsiteX0" fmla="*/ 0 w 1046480"/>
                  <a:gd name="connsiteY0" fmla="*/ 0 h 1539240"/>
                  <a:gd name="connsiteX1" fmla="*/ 284480 w 1046480"/>
                  <a:gd name="connsiteY1" fmla="*/ 650240 h 1539240"/>
                  <a:gd name="connsiteX2" fmla="*/ 553720 w 1046480"/>
                  <a:gd name="connsiteY2" fmla="*/ 487680 h 1539240"/>
                  <a:gd name="connsiteX3" fmla="*/ 822960 w 1046480"/>
                  <a:gd name="connsiteY3" fmla="*/ 1315720 h 1539240"/>
                  <a:gd name="connsiteX4" fmla="*/ 1046480 w 1046480"/>
                  <a:gd name="connsiteY4" fmla="*/ 1539240 h 1539240"/>
                  <a:gd name="connsiteX0" fmla="*/ 0 w 1046480"/>
                  <a:gd name="connsiteY0" fmla="*/ 0 h 1539240"/>
                  <a:gd name="connsiteX1" fmla="*/ 284480 w 1046480"/>
                  <a:gd name="connsiteY1" fmla="*/ 650240 h 1539240"/>
                  <a:gd name="connsiteX2" fmla="*/ 553720 w 1046480"/>
                  <a:gd name="connsiteY2" fmla="*/ 487680 h 1539240"/>
                  <a:gd name="connsiteX3" fmla="*/ 515620 w 1046480"/>
                  <a:gd name="connsiteY3" fmla="*/ 853017 h 1539240"/>
                  <a:gd name="connsiteX4" fmla="*/ 822960 w 1046480"/>
                  <a:gd name="connsiteY4" fmla="*/ 1315720 h 1539240"/>
                  <a:gd name="connsiteX5" fmla="*/ 1046480 w 1046480"/>
                  <a:gd name="connsiteY5" fmla="*/ 1539240 h 1539240"/>
                  <a:gd name="connsiteX0" fmla="*/ 0 w 1046480"/>
                  <a:gd name="connsiteY0" fmla="*/ 0 h 1539240"/>
                  <a:gd name="connsiteX1" fmla="*/ 284480 w 1046480"/>
                  <a:gd name="connsiteY1" fmla="*/ 650240 h 1539240"/>
                  <a:gd name="connsiteX2" fmla="*/ 553720 w 1046480"/>
                  <a:gd name="connsiteY2" fmla="*/ 487680 h 1539240"/>
                  <a:gd name="connsiteX3" fmla="*/ 568537 w 1046480"/>
                  <a:gd name="connsiteY3" fmla="*/ 711200 h 1539240"/>
                  <a:gd name="connsiteX4" fmla="*/ 515620 w 1046480"/>
                  <a:gd name="connsiteY4" fmla="*/ 853017 h 1539240"/>
                  <a:gd name="connsiteX5" fmla="*/ 822960 w 1046480"/>
                  <a:gd name="connsiteY5" fmla="*/ 1315720 h 1539240"/>
                  <a:gd name="connsiteX6" fmla="*/ 1046480 w 1046480"/>
                  <a:gd name="connsiteY6" fmla="*/ 1539240 h 1539240"/>
                  <a:gd name="connsiteX0" fmla="*/ 0 w 1046480"/>
                  <a:gd name="connsiteY0" fmla="*/ 0 h 1539240"/>
                  <a:gd name="connsiteX1" fmla="*/ 284480 w 1046480"/>
                  <a:gd name="connsiteY1" fmla="*/ 650240 h 1539240"/>
                  <a:gd name="connsiteX2" fmla="*/ 553720 w 1046480"/>
                  <a:gd name="connsiteY2" fmla="*/ 487680 h 1539240"/>
                  <a:gd name="connsiteX3" fmla="*/ 568537 w 1046480"/>
                  <a:gd name="connsiteY3" fmla="*/ 711200 h 1539240"/>
                  <a:gd name="connsiteX4" fmla="*/ 515620 w 1046480"/>
                  <a:gd name="connsiteY4" fmla="*/ 853017 h 1539240"/>
                  <a:gd name="connsiteX5" fmla="*/ 822960 w 1046480"/>
                  <a:gd name="connsiteY5" fmla="*/ 1315720 h 1539240"/>
                  <a:gd name="connsiteX6" fmla="*/ 1046480 w 1046480"/>
                  <a:gd name="connsiteY6" fmla="*/ 1539240 h 1539240"/>
                  <a:gd name="connsiteX0" fmla="*/ 0 w 1046480"/>
                  <a:gd name="connsiteY0" fmla="*/ 0 h 1539240"/>
                  <a:gd name="connsiteX1" fmla="*/ 284480 w 1046480"/>
                  <a:gd name="connsiteY1" fmla="*/ 650240 h 1539240"/>
                  <a:gd name="connsiteX2" fmla="*/ 553720 w 1046480"/>
                  <a:gd name="connsiteY2" fmla="*/ 487680 h 1539240"/>
                  <a:gd name="connsiteX3" fmla="*/ 568537 w 1046480"/>
                  <a:gd name="connsiteY3" fmla="*/ 711200 h 1539240"/>
                  <a:gd name="connsiteX4" fmla="*/ 515620 w 1046480"/>
                  <a:gd name="connsiteY4" fmla="*/ 853017 h 1539240"/>
                  <a:gd name="connsiteX5" fmla="*/ 822960 w 1046480"/>
                  <a:gd name="connsiteY5" fmla="*/ 1315720 h 1539240"/>
                  <a:gd name="connsiteX6" fmla="*/ 1046480 w 1046480"/>
                  <a:gd name="connsiteY6" fmla="*/ 1539240 h 1539240"/>
                  <a:gd name="connsiteX0" fmla="*/ 0 w 1046480"/>
                  <a:gd name="connsiteY0" fmla="*/ 0 h 1539240"/>
                  <a:gd name="connsiteX1" fmla="*/ 284480 w 1046480"/>
                  <a:gd name="connsiteY1" fmla="*/ 650240 h 1539240"/>
                  <a:gd name="connsiteX2" fmla="*/ 553720 w 1046480"/>
                  <a:gd name="connsiteY2" fmla="*/ 487680 h 1539240"/>
                  <a:gd name="connsiteX3" fmla="*/ 568537 w 1046480"/>
                  <a:gd name="connsiteY3" fmla="*/ 711200 h 1539240"/>
                  <a:gd name="connsiteX4" fmla="*/ 515620 w 1046480"/>
                  <a:gd name="connsiteY4" fmla="*/ 853017 h 1539240"/>
                  <a:gd name="connsiteX5" fmla="*/ 822960 w 1046480"/>
                  <a:gd name="connsiteY5" fmla="*/ 1315720 h 1539240"/>
                  <a:gd name="connsiteX6" fmla="*/ 1046480 w 1046480"/>
                  <a:gd name="connsiteY6" fmla="*/ 1539240 h 1539240"/>
                  <a:gd name="connsiteX0" fmla="*/ 0 w 923365"/>
                  <a:gd name="connsiteY0" fmla="*/ 0 h 1539240"/>
                  <a:gd name="connsiteX1" fmla="*/ 284480 w 923365"/>
                  <a:gd name="connsiteY1" fmla="*/ 650240 h 1539240"/>
                  <a:gd name="connsiteX2" fmla="*/ 553720 w 923365"/>
                  <a:gd name="connsiteY2" fmla="*/ 487680 h 1539240"/>
                  <a:gd name="connsiteX3" fmla="*/ 568537 w 923365"/>
                  <a:gd name="connsiteY3" fmla="*/ 711200 h 1539240"/>
                  <a:gd name="connsiteX4" fmla="*/ 515620 w 923365"/>
                  <a:gd name="connsiteY4" fmla="*/ 853017 h 1539240"/>
                  <a:gd name="connsiteX5" fmla="*/ 822960 w 923365"/>
                  <a:gd name="connsiteY5" fmla="*/ 1315720 h 1539240"/>
                  <a:gd name="connsiteX6" fmla="*/ 923365 w 923365"/>
                  <a:gd name="connsiteY6" fmla="*/ 1539240 h 1539240"/>
                  <a:gd name="connsiteX0" fmla="*/ 0 w 928961"/>
                  <a:gd name="connsiteY0" fmla="*/ 0 h 1483279"/>
                  <a:gd name="connsiteX1" fmla="*/ 290076 w 928961"/>
                  <a:gd name="connsiteY1" fmla="*/ 594279 h 1483279"/>
                  <a:gd name="connsiteX2" fmla="*/ 559316 w 928961"/>
                  <a:gd name="connsiteY2" fmla="*/ 431719 h 1483279"/>
                  <a:gd name="connsiteX3" fmla="*/ 574133 w 928961"/>
                  <a:gd name="connsiteY3" fmla="*/ 655239 h 1483279"/>
                  <a:gd name="connsiteX4" fmla="*/ 521216 w 928961"/>
                  <a:gd name="connsiteY4" fmla="*/ 797056 h 1483279"/>
                  <a:gd name="connsiteX5" fmla="*/ 828556 w 928961"/>
                  <a:gd name="connsiteY5" fmla="*/ 1259759 h 1483279"/>
                  <a:gd name="connsiteX6" fmla="*/ 928961 w 928961"/>
                  <a:gd name="connsiteY6" fmla="*/ 1483279 h 1483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8961" h="1483279">
                    <a:moveTo>
                      <a:pt x="0" y="0"/>
                    </a:moveTo>
                    <a:lnTo>
                      <a:pt x="290076" y="594279"/>
                    </a:lnTo>
                    <a:lnTo>
                      <a:pt x="559316" y="431719"/>
                    </a:lnTo>
                    <a:cubicBezTo>
                      <a:pt x="570676" y="507142"/>
                      <a:pt x="580483" y="594350"/>
                      <a:pt x="574133" y="655239"/>
                    </a:cubicBezTo>
                    <a:cubicBezTo>
                      <a:pt x="567783" y="684379"/>
                      <a:pt x="514795" y="767916"/>
                      <a:pt x="521216" y="797056"/>
                    </a:cubicBezTo>
                    <a:lnTo>
                      <a:pt x="828556" y="1259759"/>
                    </a:lnTo>
                    <a:lnTo>
                      <a:pt x="928961" y="1483279"/>
                    </a:lnTo>
                  </a:path>
                </a:pathLst>
              </a:custGeom>
              <a:noFill/>
              <a:ln w="15875" cap="rnd" cmpd="sng" algn="ctr">
                <a:solidFill>
                  <a:schemeClr val="bg1">
                    <a:lumMod val="65000"/>
                  </a:schemeClr>
                </a:solidFill>
                <a:prstDash val="sysDash"/>
                <a:round/>
                <a:headEnd type="triangle" w="lg" len="lg"/>
                <a:tailEnd type="non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34" name="Group 25">
                <a:extLst>
                  <a:ext uri="{FF2B5EF4-FFF2-40B4-BE49-F238E27FC236}">
                    <a16:creationId xmlns:a16="http://schemas.microsoft.com/office/drawing/2014/main" id="{0748CF6F-3565-43B7-9B58-B4F608838E8E}"/>
                  </a:ext>
                </a:extLst>
              </p:cNvPr>
              <p:cNvGrpSpPr/>
              <p:nvPr/>
            </p:nvGrpSpPr>
            <p:grpSpPr>
              <a:xfrm>
                <a:off x="1155079" y="4256683"/>
                <a:ext cx="2833709" cy="1285720"/>
                <a:chOff x="1542196" y="4645010"/>
                <a:chExt cx="2514600" cy="1467080"/>
              </a:xfrm>
            </p:grpSpPr>
            <p:cxnSp>
              <p:nvCxnSpPr>
                <p:cNvPr id="136" name="Straight Arrow Connector 49">
                  <a:extLst>
                    <a:ext uri="{FF2B5EF4-FFF2-40B4-BE49-F238E27FC236}">
                      <a16:creationId xmlns:a16="http://schemas.microsoft.com/office/drawing/2014/main" id="{71D80279-5AC4-40FF-8FC5-C2E1351ECAE9}"/>
                    </a:ext>
                  </a:extLst>
                </p:cNvPr>
                <p:cNvCxnSpPr/>
                <p:nvPr/>
              </p:nvCxnSpPr>
              <p:spPr>
                <a:xfrm flipV="1">
                  <a:off x="2380396" y="4645010"/>
                  <a:ext cx="0" cy="1467080"/>
                </a:xfrm>
                <a:prstGeom prst="straightConnector1">
                  <a:avLst/>
                </a:prstGeom>
                <a:noFill/>
                <a:ln w="15875" cap="rnd" cmpd="sng" algn="ctr">
                  <a:solidFill>
                    <a:schemeClr val="bg1">
                      <a:lumMod val="65000"/>
                    </a:schemeClr>
                  </a:solidFill>
                  <a:prstDash val="sysDash"/>
                  <a:round/>
                  <a:headEnd type="none" w="lg" len="lg"/>
                  <a:tailEnd type="triangle" w="lg" len="lg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37" name="Straight Arrow Connector 50">
                  <a:extLst>
                    <a:ext uri="{FF2B5EF4-FFF2-40B4-BE49-F238E27FC236}">
                      <a16:creationId xmlns:a16="http://schemas.microsoft.com/office/drawing/2014/main" id="{03EAB834-45D5-42DB-BDEB-7489B9860205}"/>
                    </a:ext>
                  </a:extLst>
                </p:cNvPr>
                <p:cNvCxnSpPr/>
                <p:nvPr/>
              </p:nvCxnSpPr>
              <p:spPr>
                <a:xfrm flipV="1">
                  <a:off x="1542196" y="4645010"/>
                  <a:ext cx="0" cy="1467080"/>
                </a:xfrm>
                <a:prstGeom prst="straightConnector1">
                  <a:avLst/>
                </a:prstGeom>
                <a:noFill/>
                <a:ln w="15875" cap="rnd" cmpd="sng" algn="ctr">
                  <a:solidFill>
                    <a:schemeClr val="bg1">
                      <a:lumMod val="65000"/>
                    </a:schemeClr>
                  </a:solidFill>
                  <a:prstDash val="sysDash"/>
                  <a:round/>
                  <a:headEnd type="none" w="lg" len="lg"/>
                  <a:tailEnd type="triangle" w="lg" len="lg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38" name="Straight Arrow Connector 51">
                  <a:extLst>
                    <a:ext uri="{FF2B5EF4-FFF2-40B4-BE49-F238E27FC236}">
                      <a16:creationId xmlns:a16="http://schemas.microsoft.com/office/drawing/2014/main" id="{63C6FA90-892B-4343-B717-447E014B0912}"/>
                    </a:ext>
                  </a:extLst>
                </p:cNvPr>
                <p:cNvCxnSpPr/>
                <p:nvPr/>
              </p:nvCxnSpPr>
              <p:spPr>
                <a:xfrm flipV="1">
                  <a:off x="4056796" y="4645010"/>
                  <a:ext cx="0" cy="1467080"/>
                </a:xfrm>
                <a:prstGeom prst="straightConnector1">
                  <a:avLst/>
                </a:prstGeom>
                <a:noFill/>
                <a:ln w="15875" cap="rnd" cmpd="sng" algn="ctr">
                  <a:solidFill>
                    <a:schemeClr val="bg1">
                      <a:lumMod val="65000"/>
                    </a:schemeClr>
                  </a:solidFill>
                  <a:prstDash val="sysDash"/>
                  <a:round/>
                  <a:headEnd type="none" w="lg" len="lg"/>
                  <a:tailEnd type="triangle" w="lg" len="lg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39" name="Straight Arrow Connector 52">
                  <a:extLst>
                    <a:ext uri="{FF2B5EF4-FFF2-40B4-BE49-F238E27FC236}">
                      <a16:creationId xmlns:a16="http://schemas.microsoft.com/office/drawing/2014/main" id="{DED4C76A-9269-4E50-A84B-06FC6272F24B}"/>
                    </a:ext>
                  </a:extLst>
                </p:cNvPr>
                <p:cNvCxnSpPr/>
                <p:nvPr/>
              </p:nvCxnSpPr>
              <p:spPr>
                <a:xfrm flipV="1">
                  <a:off x="3218596" y="4645010"/>
                  <a:ext cx="0" cy="1467080"/>
                </a:xfrm>
                <a:prstGeom prst="straightConnector1">
                  <a:avLst/>
                </a:prstGeom>
                <a:noFill/>
                <a:ln w="15875" cap="rnd" cmpd="sng" algn="ctr">
                  <a:solidFill>
                    <a:schemeClr val="bg1">
                      <a:lumMod val="65000"/>
                    </a:schemeClr>
                  </a:solidFill>
                  <a:prstDash val="sysDash"/>
                  <a:round/>
                  <a:headEnd type="none" w="lg" len="lg"/>
                  <a:tailEnd type="triangle" w="lg" len="lg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5" name="Freeform 26">
                <a:extLst>
                  <a:ext uri="{FF2B5EF4-FFF2-40B4-BE49-F238E27FC236}">
                    <a16:creationId xmlns:a16="http://schemas.microsoft.com/office/drawing/2014/main" id="{3D916310-066C-42CB-B52A-92A560A7B5DC}"/>
                  </a:ext>
                </a:extLst>
              </p:cNvPr>
              <p:cNvSpPr/>
              <p:nvPr/>
            </p:nvSpPr>
            <p:spPr>
              <a:xfrm>
                <a:off x="1734288" y="1816138"/>
                <a:ext cx="1120587" cy="929212"/>
              </a:xfrm>
              <a:custGeom>
                <a:avLst/>
                <a:gdLst>
                  <a:gd name="connsiteX0" fmla="*/ 0 w 1244600"/>
                  <a:gd name="connsiteY0" fmla="*/ 930275 h 930275"/>
                  <a:gd name="connsiteX1" fmla="*/ 342900 w 1244600"/>
                  <a:gd name="connsiteY1" fmla="*/ 711200 h 930275"/>
                  <a:gd name="connsiteX2" fmla="*/ 568325 w 1244600"/>
                  <a:gd name="connsiteY2" fmla="*/ 784225 h 930275"/>
                  <a:gd name="connsiteX3" fmla="*/ 825500 w 1244600"/>
                  <a:gd name="connsiteY3" fmla="*/ 695325 h 930275"/>
                  <a:gd name="connsiteX4" fmla="*/ 1155700 w 1244600"/>
                  <a:gd name="connsiteY4" fmla="*/ 682625 h 930275"/>
                  <a:gd name="connsiteX5" fmla="*/ 1244600 w 1244600"/>
                  <a:gd name="connsiteY5" fmla="*/ 644525 h 930275"/>
                  <a:gd name="connsiteX6" fmla="*/ 1219200 w 1244600"/>
                  <a:gd name="connsiteY6" fmla="*/ 517525 h 930275"/>
                  <a:gd name="connsiteX7" fmla="*/ 800100 w 1244600"/>
                  <a:gd name="connsiteY7" fmla="*/ 469900 h 930275"/>
                  <a:gd name="connsiteX8" fmla="*/ 428625 w 1244600"/>
                  <a:gd name="connsiteY8" fmla="*/ 492125 h 930275"/>
                  <a:gd name="connsiteX9" fmla="*/ 295275 w 1244600"/>
                  <a:gd name="connsiteY9" fmla="*/ 377825 h 930275"/>
                  <a:gd name="connsiteX10" fmla="*/ 196850 w 1244600"/>
                  <a:gd name="connsiteY10" fmla="*/ 368300 h 930275"/>
                  <a:gd name="connsiteX11" fmla="*/ 292100 w 1244600"/>
                  <a:gd name="connsiteY11" fmla="*/ 171450 h 930275"/>
                  <a:gd name="connsiteX12" fmla="*/ 692150 w 1244600"/>
                  <a:gd name="connsiteY12" fmla="*/ 114300 h 930275"/>
                  <a:gd name="connsiteX13" fmla="*/ 927100 w 1244600"/>
                  <a:gd name="connsiteY13" fmla="*/ 101600 h 930275"/>
                  <a:gd name="connsiteX14" fmla="*/ 1066800 w 1244600"/>
                  <a:gd name="connsiteY14" fmla="*/ 0 h 930275"/>
                  <a:gd name="connsiteX0" fmla="*/ 0 w 1244600"/>
                  <a:gd name="connsiteY0" fmla="*/ 1104900 h 1104900"/>
                  <a:gd name="connsiteX1" fmla="*/ 342900 w 1244600"/>
                  <a:gd name="connsiteY1" fmla="*/ 885825 h 1104900"/>
                  <a:gd name="connsiteX2" fmla="*/ 568325 w 1244600"/>
                  <a:gd name="connsiteY2" fmla="*/ 958850 h 1104900"/>
                  <a:gd name="connsiteX3" fmla="*/ 825500 w 1244600"/>
                  <a:gd name="connsiteY3" fmla="*/ 869950 h 1104900"/>
                  <a:gd name="connsiteX4" fmla="*/ 1155700 w 1244600"/>
                  <a:gd name="connsiteY4" fmla="*/ 857250 h 1104900"/>
                  <a:gd name="connsiteX5" fmla="*/ 1244600 w 1244600"/>
                  <a:gd name="connsiteY5" fmla="*/ 819150 h 1104900"/>
                  <a:gd name="connsiteX6" fmla="*/ 1219200 w 1244600"/>
                  <a:gd name="connsiteY6" fmla="*/ 692150 h 1104900"/>
                  <a:gd name="connsiteX7" fmla="*/ 800100 w 1244600"/>
                  <a:gd name="connsiteY7" fmla="*/ 644525 h 1104900"/>
                  <a:gd name="connsiteX8" fmla="*/ 428625 w 1244600"/>
                  <a:gd name="connsiteY8" fmla="*/ 666750 h 1104900"/>
                  <a:gd name="connsiteX9" fmla="*/ 295275 w 1244600"/>
                  <a:gd name="connsiteY9" fmla="*/ 552450 h 1104900"/>
                  <a:gd name="connsiteX10" fmla="*/ 196850 w 1244600"/>
                  <a:gd name="connsiteY10" fmla="*/ 542925 h 1104900"/>
                  <a:gd name="connsiteX11" fmla="*/ 292100 w 1244600"/>
                  <a:gd name="connsiteY11" fmla="*/ 346075 h 1104900"/>
                  <a:gd name="connsiteX12" fmla="*/ 692150 w 1244600"/>
                  <a:gd name="connsiteY12" fmla="*/ 288925 h 1104900"/>
                  <a:gd name="connsiteX13" fmla="*/ 927100 w 1244600"/>
                  <a:gd name="connsiteY13" fmla="*/ 276225 h 1104900"/>
                  <a:gd name="connsiteX14" fmla="*/ 1009650 w 1244600"/>
                  <a:gd name="connsiteY14" fmla="*/ 0 h 1104900"/>
                  <a:gd name="connsiteX0" fmla="*/ 0 w 1244600"/>
                  <a:gd name="connsiteY0" fmla="*/ 1104900 h 1104900"/>
                  <a:gd name="connsiteX1" fmla="*/ 342900 w 1244600"/>
                  <a:gd name="connsiteY1" fmla="*/ 885825 h 1104900"/>
                  <a:gd name="connsiteX2" fmla="*/ 568325 w 1244600"/>
                  <a:gd name="connsiteY2" fmla="*/ 958850 h 1104900"/>
                  <a:gd name="connsiteX3" fmla="*/ 825500 w 1244600"/>
                  <a:gd name="connsiteY3" fmla="*/ 869950 h 1104900"/>
                  <a:gd name="connsiteX4" fmla="*/ 1155700 w 1244600"/>
                  <a:gd name="connsiteY4" fmla="*/ 857250 h 1104900"/>
                  <a:gd name="connsiteX5" fmla="*/ 1244600 w 1244600"/>
                  <a:gd name="connsiteY5" fmla="*/ 819150 h 1104900"/>
                  <a:gd name="connsiteX6" fmla="*/ 1219200 w 1244600"/>
                  <a:gd name="connsiteY6" fmla="*/ 692150 h 1104900"/>
                  <a:gd name="connsiteX7" fmla="*/ 800100 w 1244600"/>
                  <a:gd name="connsiteY7" fmla="*/ 644525 h 1104900"/>
                  <a:gd name="connsiteX8" fmla="*/ 428625 w 1244600"/>
                  <a:gd name="connsiteY8" fmla="*/ 666750 h 1104900"/>
                  <a:gd name="connsiteX9" fmla="*/ 295275 w 1244600"/>
                  <a:gd name="connsiteY9" fmla="*/ 552450 h 1104900"/>
                  <a:gd name="connsiteX10" fmla="*/ 196850 w 1244600"/>
                  <a:gd name="connsiteY10" fmla="*/ 542925 h 1104900"/>
                  <a:gd name="connsiteX11" fmla="*/ 292100 w 1244600"/>
                  <a:gd name="connsiteY11" fmla="*/ 346075 h 1104900"/>
                  <a:gd name="connsiteX12" fmla="*/ 692150 w 1244600"/>
                  <a:gd name="connsiteY12" fmla="*/ 288925 h 1104900"/>
                  <a:gd name="connsiteX13" fmla="*/ 927100 w 1244600"/>
                  <a:gd name="connsiteY13" fmla="*/ 276225 h 1104900"/>
                  <a:gd name="connsiteX14" fmla="*/ 1082675 w 1244600"/>
                  <a:gd name="connsiteY14" fmla="*/ 215900 h 1104900"/>
                  <a:gd name="connsiteX15" fmla="*/ 1009650 w 1244600"/>
                  <a:gd name="connsiteY15" fmla="*/ 0 h 1104900"/>
                  <a:gd name="connsiteX0" fmla="*/ 0 w 1244600"/>
                  <a:gd name="connsiteY0" fmla="*/ 1104900 h 1104900"/>
                  <a:gd name="connsiteX1" fmla="*/ 342900 w 1244600"/>
                  <a:gd name="connsiteY1" fmla="*/ 885825 h 1104900"/>
                  <a:gd name="connsiteX2" fmla="*/ 568325 w 1244600"/>
                  <a:gd name="connsiteY2" fmla="*/ 958850 h 1104900"/>
                  <a:gd name="connsiteX3" fmla="*/ 825500 w 1244600"/>
                  <a:gd name="connsiteY3" fmla="*/ 869950 h 1104900"/>
                  <a:gd name="connsiteX4" fmla="*/ 1155700 w 1244600"/>
                  <a:gd name="connsiteY4" fmla="*/ 857250 h 1104900"/>
                  <a:gd name="connsiteX5" fmla="*/ 1244600 w 1244600"/>
                  <a:gd name="connsiteY5" fmla="*/ 819150 h 1104900"/>
                  <a:gd name="connsiteX6" fmla="*/ 1219200 w 1244600"/>
                  <a:gd name="connsiteY6" fmla="*/ 692150 h 1104900"/>
                  <a:gd name="connsiteX7" fmla="*/ 800100 w 1244600"/>
                  <a:gd name="connsiteY7" fmla="*/ 644525 h 1104900"/>
                  <a:gd name="connsiteX8" fmla="*/ 428625 w 1244600"/>
                  <a:gd name="connsiteY8" fmla="*/ 666750 h 1104900"/>
                  <a:gd name="connsiteX9" fmla="*/ 295275 w 1244600"/>
                  <a:gd name="connsiteY9" fmla="*/ 552450 h 1104900"/>
                  <a:gd name="connsiteX10" fmla="*/ 196850 w 1244600"/>
                  <a:gd name="connsiteY10" fmla="*/ 542925 h 1104900"/>
                  <a:gd name="connsiteX11" fmla="*/ 292100 w 1244600"/>
                  <a:gd name="connsiteY11" fmla="*/ 346075 h 1104900"/>
                  <a:gd name="connsiteX12" fmla="*/ 692150 w 1244600"/>
                  <a:gd name="connsiteY12" fmla="*/ 288925 h 1104900"/>
                  <a:gd name="connsiteX13" fmla="*/ 927100 w 1244600"/>
                  <a:gd name="connsiteY13" fmla="*/ 276225 h 1104900"/>
                  <a:gd name="connsiteX14" fmla="*/ 1082675 w 1244600"/>
                  <a:gd name="connsiteY14" fmla="*/ 215900 h 1104900"/>
                  <a:gd name="connsiteX15" fmla="*/ 1009650 w 1244600"/>
                  <a:gd name="connsiteY15" fmla="*/ 0 h 1104900"/>
                  <a:gd name="connsiteX0" fmla="*/ 0 w 1244600"/>
                  <a:gd name="connsiteY0" fmla="*/ 1104900 h 1104900"/>
                  <a:gd name="connsiteX1" fmla="*/ 342900 w 1244600"/>
                  <a:gd name="connsiteY1" fmla="*/ 885825 h 1104900"/>
                  <a:gd name="connsiteX2" fmla="*/ 568325 w 1244600"/>
                  <a:gd name="connsiteY2" fmla="*/ 958850 h 1104900"/>
                  <a:gd name="connsiteX3" fmla="*/ 825500 w 1244600"/>
                  <a:gd name="connsiteY3" fmla="*/ 869950 h 1104900"/>
                  <a:gd name="connsiteX4" fmla="*/ 1155700 w 1244600"/>
                  <a:gd name="connsiteY4" fmla="*/ 857250 h 1104900"/>
                  <a:gd name="connsiteX5" fmla="*/ 1244600 w 1244600"/>
                  <a:gd name="connsiteY5" fmla="*/ 819150 h 1104900"/>
                  <a:gd name="connsiteX6" fmla="*/ 1219200 w 1244600"/>
                  <a:gd name="connsiteY6" fmla="*/ 692150 h 1104900"/>
                  <a:gd name="connsiteX7" fmla="*/ 800100 w 1244600"/>
                  <a:gd name="connsiteY7" fmla="*/ 644525 h 1104900"/>
                  <a:gd name="connsiteX8" fmla="*/ 428625 w 1244600"/>
                  <a:gd name="connsiteY8" fmla="*/ 666750 h 1104900"/>
                  <a:gd name="connsiteX9" fmla="*/ 295275 w 1244600"/>
                  <a:gd name="connsiteY9" fmla="*/ 552450 h 1104900"/>
                  <a:gd name="connsiteX10" fmla="*/ 196850 w 1244600"/>
                  <a:gd name="connsiteY10" fmla="*/ 542925 h 1104900"/>
                  <a:gd name="connsiteX11" fmla="*/ 292100 w 1244600"/>
                  <a:gd name="connsiteY11" fmla="*/ 346075 h 1104900"/>
                  <a:gd name="connsiteX12" fmla="*/ 692150 w 1244600"/>
                  <a:gd name="connsiteY12" fmla="*/ 288925 h 1104900"/>
                  <a:gd name="connsiteX13" fmla="*/ 927100 w 1244600"/>
                  <a:gd name="connsiteY13" fmla="*/ 276225 h 1104900"/>
                  <a:gd name="connsiteX14" fmla="*/ 1082675 w 1244600"/>
                  <a:gd name="connsiteY14" fmla="*/ 215900 h 1104900"/>
                  <a:gd name="connsiteX15" fmla="*/ 1009650 w 1244600"/>
                  <a:gd name="connsiteY15" fmla="*/ 0 h 1104900"/>
                  <a:gd name="connsiteX0" fmla="*/ 0 w 1234440"/>
                  <a:gd name="connsiteY0" fmla="*/ 1059180 h 1059180"/>
                  <a:gd name="connsiteX1" fmla="*/ 332740 w 1234440"/>
                  <a:gd name="connsiteY1" fmla="*/ 885825 h 1059180"/>
                  <a:gd name="connsiteX2" fmla="*/ 558165 w 1234440"/>
                  <a:gd name="connsiteY2" fmla="*/ 958850 h 1059180"/>
                  <a:gd name="connsiteX3" fmla="*/ 815340 w 1234440"/>
                  <a:gd name="connsiteY3" fmla="*/ 869950 h 1059180"/>
                  <a:gd name="connsiteX4" fmla="*/ 1145540 w 1234440"/>
                  <a:gd name="connsiteY4" fmla="*/ 857250 h 1059180"/>
                  <a:gd name="connsiteX5" fmla="*/ 1234440 w 1234440"/>
                  <a:gd name="connsiteY5" fmla="*/ 819150 h 1059180"/>
                  <a:gd name="connsiteX6" fmla="*/ 1209040 w 1234440"/>
                  <a:gd name="connsiteY6" fmla="*/ 692150 h 1059180"/>
                  <a:gd name="connsiteX7" fmla="*/ 789940 w 1234440"/>
                  <a:gd name="connsiteY7" fmla="*/ 644525 h 1059180"/>
                  <a:gd name="connsiteX8" fmla="*/ 418465 w 1234440"/>
                  <a:gd name="connsiteY8" fmla="*/ 666750 h 1059180"/>
                  <a:gd name="connsiteX9" fmla="*/ 285115 w 1234440"/>
                  <a:gd name="connsiteY9" fmla="*/ 552450 h 1059180"/>
                  <a:gd name="connsiteX10" fmla="*/ 186690 w 1234440"/>
                  <a:gd name="connsiteY10" fmla="*/ 542925 h 1059180"/>
                  <a:gd name="connsiteX11" fmla="*/ 281940 w 1234440"/>
                  <a:gd name="connsiteY11" fmla="*/ 346075 h 1059180"/>
                  <a:gd name="connsiteX12" fmla="*/ 681990 w 1234440"/>
                  <a:gd name="connsiteY12" fmla="*/ 288925 h 1059180"/>
                  <a:gd name="connsiteX13" fmla="*/ 916940 w 1234440"/>
                  <a:gd name="connsiteY13" fmla="*/ 276225 h 1059180"/>
                  <a:gd name="connsiteX14" fmla="*/ 1072515 w 1234440"/>
                  <a:gd name="connsiteY14" fmla="*/ 215900 h 1059180"/>
                  <a:gd name="connsiteX15" fmla="*/ 999490 w 1234440"/>
                  <a:gd name="connsiteY15" fmla="*/ 0 h 1059180"/>
                  <a:gd name="connsiteX0" fmla="*/ 0 w 1234440"/>
                  <a:gd name="connsiteY0" fmla="*/ 1023620 h 1023620"/>
                  <a:gd name="connsiteX1" fmla="*/ 332740 w 1234440"/>
                  <a:gd name="connsiteY1" fmla="*/ 850265 h 1023620"/>
                  <a:gd name="connsiteX2" fmla="*/ 558165 w 1234440"/>
                  <a:gd name="connsiteY2" fmla="*/ 923290 h 1023620"/>
                  <a:gd name="connsiteX3" fmla="*/ 815340 w 1234440"/>
                  <a:gd name="connsiteY3" fmla="*/ 834390 h 1023620"/>
                  <a:gd name="connsiteX4" fmla="*/ 1145540 w 1234440"/>
                  <a:gd name="connsiteY4" fmla="*/ 821690 h 1023620"/>
                  <a:gd name="connsiteX5" fmla="*/ 1234440 w 1234440"/>
                  <a:gd name="connsiteY5" fmla="*/ 783590 h 1023620"/>
                  <a:gd name="connsiteX6" fmla="*/ 1209040 w 1234440"/>
                  <a:gd name="connsiteY6" fmla="*/ 656590 h 1023620"/>
                  <a:gd name="connsiteX7" fmla="*/ 789940 w 1234440"/>
                  <a:gd name="connsiteY7" fmla="*/ 608965 h 1023620"/>
                  <a:gd name="connsiteX8" fmla="*/ 418465 w 1234440"/>
                  <a:gd name="connsiteY8" fmla="*/ 631190 h 1023620"/>
                  <a:gd name="connsiteX9" fmla="*/ 285115 w 1234440"/>
                  <a:gd name="connsiteY9" fmla="*/ 516890 h 1023620"/>
                  <a:gd name="connsiteX10" fmla="*/ 186690 w 1234440"/>
                  <a:gd name="connsiteY10" fmla="*/ 507365 h 1023620"/>
                  <a:gd name="connsiteX11" fmla="*/ 281940 w 1234440"/>
                  <a:gd name="connsiteY11" fmla="*/ 310515 h 1023620"/>
                  <a:gd name="connsiteX12" fmla="*/ 681990 w 1234440"/>
                  <a:gd name="connsiteY12" fmla="*/ 253365 h 1023620"/>
                  <a:gd name="connsiteX13" fmla="*/ 916940 w 1234440"/>
                  <a:gd name="connsiteY13" fmla="*/ 240665 h 1023620"/>
                  <a:gd name="connsiteX14" fmla="*/ 1072515 w 1234440"/>
                  <a:gd name="connsiteY14" fmla="*/ 180340 h 1023620"/>
                  <a:gd name="connsiteX15" fmla="*/ 999490 w 1234440"/>
                  <a:gd name="connsiteY15" fmla="*/ 0 h 1023620"/>
                  <a:gd name="connsiteX0" fmla="*/ 0 w 1234440"/>
                  <a:gd name="connsiteY0" fmla="*/ 1023620 h 1023620"/>
                  <a:gd name="connsiteX1" fmla="*/ 332740 w 1234440"/>
                  <a:gd name="connsiteY1" fmla="*/ 850265 h 1023620"/>
                  <a:gd name="connsiteX2" fmla="*/ 558165 w 1234440"/>
                  <a:gd name="connsiteY2" fmla="*/ 923290 h 1023620"/>
                  <a:gd name="connsiteX3" fmla="*/ 815340 w 1234440"/>
                  <a:gd name="connsiteY3" fmla="*/ 834390 h 1023620"/>
                  <a:gd name="connsiteX4" fmla="*/ 1145540 w 1234440"/>
                  <a:gd name="connsiteY4" fmla="*/ 821690 h 1023620"/>
                  <a:gd name="connsiteX5" fmla="*/ 1234440 w 1234440"/>
                  <a:gd name="connsiteY5" fmla="*/ 783590 h 1023620"/>
                  <a:gd name="connsiteX6" fmla="*/ 1209040 w 1234440"/>
                  <a:gd name="connsiteY6" fmla="*/ 656590 h 1023620"/>
                  <a:gd name="connsiteX7" fmla="*/ 789940 w 1234440"/>
                  <a:gd name="connsiteY7" fmla="*/ 608965 h 1023620"/>
                  <a:gd name="connsiteX8" fmla="*/ 418465 w 1234440"/>
                  <a:gd name="connsiteY8" fmla="*/ 631190 h 1023620"/>
                  <a:gd name="connsiteX9" fmla="*/ 285115 w 1234440"/>
                  <a:gd name="connsiteY9" fmla="*/ 516890 h 1023620"/>
                  <a:gd name="connsiteX10" fmla="*/ 186690 w 1234440"/>
                  <a:gd name="connsiteY10" fmla="*/ 507365 h 1023620"/>
                  <a:gd name="connsiteX11" fmla="*/ 281940 w 1234440"/>
                  <a:gd name="connsiteY11" fmla="*/ 310515 h 1023620"/>
                  <a:gd name="connsiteX12" fmla="*/ 681990 w 1234440"/>
                  <a:gd name="connsiteY12" fmla="*/ 253365 h 1023620"/>
                  <a:gd name="connsiteX13" fmla="*/ 916940 w 1234440"/>
                  <a:gd name="connsiteY13" fmla="*/ 240665 h 1023620"/>
                  <a:gd name="connsiteX14" fmla="*/ 1097915 w 1234440"/>
                  <a:gd name="connsiteY14" fmla="*/ 215900 h 1023620"/>
                  <a:gd name="connsiteX15" fmla="*/ 999490 w 1234440"/>
                  <a:gd name="connsiteY15" fmla="*/ 0 h 1023620"/>
                  <a:gd name="connsiteX0" fmla="*/ 0 w 1234440"/>
                  <a:gd name="connsiteY0" fmla="*/ 1023620 h 1023620"/>
                  <a:gd name="connsiteX1" fmla="*/ 332740 w 1234440"/>
                  <a:gd name="connsiteY1" fmla="*/ 850265 h 1023620"/>
                  <a:gd name="connsiteX2" fmla="*/ 558165 w 1234440"/>
                  <a:gd name="connsiteY2" fmla="*/ 923290 h 1023620"/>
                  <a:gd name="connsiteX3" fmla="*/ 815340 w 1234440"/>
                  <a:gd name="connsiteY3" fmla="*/ 834390 h 1023620"/>
                  <a:gd name="connsiteX4" fmla="*/ 1145540 w 1234440"/>
                  <a:gd name="connsiteY4" fmla="*/ 821690 h 1023620"/>
                  <a:gd name="connsiteX5" fmla="*/ 1234440 w 1234440"/>
                  <a:gd name="connsiteY5" fmla="*/ 783590 h 1023620"/>
                  <a:gd name="connsiteX6" fmla="*/ 1209040 w 1234440"/>
                  <a:gd name="connsiteY6" fmla="*/ 656590 h 1023620"/>
                  <a:gd name="connsiteX7" fmla="*/ 789940 w 1234440"/>
                  <a:gd name="connsiteY7" fmla="*/ 608965 h 1023620"/>
                  <a:gd name="connsiteX8" fmla="*/ 418465 w 1234440"/>
                  <a:gd name="connsiteY8" fmla="*/ 631190 h 1023620"/>
                  <a:gd name="connsiteX9" fmla="*/ 285115 w 1234440"/>
                  <a:gd name="connsiteY9" fmla="*/ 516890 h 1023620"/>
                  <a:gd name="connsiteX10" fmla="*/ 186690 w 1234440"/>
                  <a:gd name="connsiteY10" fmla="*/ 507365 h 1023620"/>
                  <a:gd name="connsiteX11" fmla="*/ 281940 w 1234440"/>
                  <a:gd name="connsiteY11" fmla="*/ 310515 h 1023620"/>
                  <a:gd name="connsiteX12" fmla="*/ 681990 w 1234440"/>
                  <a:gd name="connsiteY12" fmla="*/ 253365 h 1023620"/>
                  <a:gd name="connsiteX13" fmla="*/ 1097915 w 1234440"/>
                  <a:gd name="connsiteY13" fmla="*/ 215900 h 1023620"/>
                  <a:gd name="connsiteX14" fmla="*/ 999490 w 1234440"/>
                  <a:gd name="connsiteY14" fmla="*/ 0 h 1023620"/>
                  <a:gd name="connsiteX0" fmla="*/ 0 w 1234440"/>
                  <a:gd name="connsiteY0" fmla="*/ 1023620 h 1023620"/>
                  <a:gd name="connsiteX1" fmla="*/ 332740 w 1234440"/>
                  <a:gd name="connsiteY1" fmla="*/ 850265 h 1023620"/>
                  <a:gd name="connsiteX2" fmla="*/ 558165 w 1234440"/>
                  <a:gd name="connsiteY2" fmla="*/ 923290 h 1023620"/>
                  <a:gd name="connsiteX3" fmla="*/ 815340 w 1234440"/>
                  <a:gd name="connsiteY3" fmla="*/ 834390 h 1023620"/>
                  <a:gd name="connsiteX4" fmla="*/ 1145540 w 1234440"/>
                  <a:gd name="connsiteY4" fmla="*/ 821690 h 1023620"/>
                  <a:gd name="connsiteX5" fmla="*/ 1234440 w 1234440"/>
                  <a:gd name="connsiteY5" fmla="*/ 783590 h 1023620"/>
                  <a:gd name="connsiteX6" fmla="*/ 1209040 w 1234440"/>
                  <a:gd name="connsiteY6" fmla="*/ 656590 h 1023620"/>
                  <a:gd name="connsiteX7" fmla="*/ 789940 w 1234440"/>
                  <a:gd name="connsiteY7" fmla="*/ 608965 h 1023620"/>
                  <a:gd name="connsiteX8" fmla="*/ 418465 w 1234440"/>
                  <a:gd name="connsiteY8" fmla="*/ 631190 h 1023620"/>
                  <a:gd name="connsiteX9" fmla="*/ 285115 w 1234440"/>
                  <a:gd name="connsiteY9" fmla="*/ 516890 h 1023620"/>
                  <a:gd name="connsiteX10" fmla="*/ 186690 w 1234440"/>
                  <a:gd name="connsiteY10" fmla="*/ 507365 h 1023620"/>
                  <a:gd name="connsiteX11" fmla="*/ 281940 w 1234440"/>
                  <a:gd name="connsiteY11" fmla="*/ 310515 h 1023620"/>
                  <a:gd name="connsiteX12" fmla="*/ 687070 w 1234440"/>
                  <a:gd name="connsiteY12" fmla="*/ 339725 h 1023620"/>
                  <a:gd name="connsiteX13" fmla="*/ 1097915 w 1234440"/>
                  <a:gd name="connsiteY13" fmla="*/ 215900 h 1023620"/>
                  <a:gd name="connsiteX14" fmla="*/ 999490 w 1234440"/>
                  <a:gd name="connsiteY14" fmla="*/ 0 h 1023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4440" h="1023620">
                    <a:moveTo>
                      <a:pt x="0" y="1023620"/>
                    </a:moveTo>
                    <a:lnTo>
                      <a:pt x="332740" y="850265"/>
                    </a:lnTo>
                    <a:lnTo>
                      <a:pt x="558165" y="923290"/>
                    </a:lnTo>
                    <a:lnTo>
                      <a:pt x="815340" y="834390"/>
                    </a:lnTo>
                    <a:lnTo>
                      <a:pt x="1145540" y="821690"/>
                    </a:lnTo>
                    <a:lnTo>
                      <a:pt x="1234440" y="783590"/>
                    </a:lnTo>
                    <a:lnTo>
                      <a:pt x="1209040" y="656590"/>
                    </a:lnTo>
                    <a:lnTo>
                      <a:pt x="789940" y="608965"/>
                    </a:lnTo>
                    <a:lnTo>
                      <a:pt x="418465" y="631190"/>
                    </a:lnTo>
                    <a:lnTo>
                      <a:pt x="285115" y="516890"/>
                    </a:lnTo>
                    <a:lnTo>
                      <a:pt x="186690" y="507365"/>
                    </a:lnTo>
                    <a:lnTo>
                      <a:pt x="281940" y="310515"/>
                    </a:lnTo>
                    <a:lnTo>
                      <a:pt x="687070" y="339725"/>
                    </a:lnTo>
                    <a:lnTo>
                      <a:pt x="1097915" y="215900"/>
                    </a:lnTo>
                    <a:lnTo>
                      <a:pt x="999490" y="0"/>
                    </a:lnTo>
                  </a:path>
                </a:pathLst>
              </a:custGeom>
              <a:noFill/>
              <a:ln w="15875" cap="rnd" cmpd="sng" algn="ctr">
                <a:solidFill>
                  <a:schemeClr val="bg1">
                    <a:lumMod val="65000"/>
                  </a:schemeClr>
                </a:solidFill>
                <a:prstDash val="sysDash"/>
                <a:round/>
                <a:headEnd type="none" w="lg" len="lg"/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14" name="Picture 43">
              <a:extLst>
                <a:ext uri="{FF2B5EF4-FFF2-40B4-BE49-F238E27FC236}">
                  <a16:creationId xmlns:a16="http://schemas.microsoft.com/office/drawing/2014/main" id="{332D02C5-ACB3-4126-A667-2A56DB50CB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l="28301"/>
            <a:stretch>
              <a:fillRect/>
            </a:stretch>
          </p:blipFill>
          <p:spPr>
            <a:xfrm rot="20469780">
              <a:off x="3598290" y="3109595"/>
              <a:ext cx="359087" cy="717568"/>
            </a:xfrm>
            <a:custGeom>
              <a:avLst/>
              <a:gdLst>
                <a:gd name="connsiteX0" fmla="*/ 77272 w 203335"/>
                <a:gd name="connsiteY0" fmla="*/ 0 h 406326"/>
                <a:gd name="connsiteX1" fmla="*/ 203335 w 203335"/>
                <a:gd name="connsiteY1" fmla="*/ 0 h 406326"/>
                <a:gd name="connsiteX2" fmla="*/ 203335 w 203335"/>
                <a:gd name="connsiteY2" fmla="*/ 406326 h 406326"/>
                <a:gd name="connsiteX3" fmla="*/ 17694 w 203335"/>
                <a:gd name="connsiteY3" fmla="*/ 406326 h 406326"/>
                <a:gd name="connsiteX4" fmla="*/ 0 w 203335"/>
                <a:gd name="connsiteY4" fmla="*/ 282470 h 406326"/>
                <a:gd name="connsiteX5" fmla="*/ 4763 w 203335"/>
                <a:gd name="connsiteY5" fmla="*/ 211033 h 406326"/>
                <a:gd name="connsiteX6" fmla="*/ 47625 w 203335"/>
                <a:gd name="connsiteY6" fmla="*/ 177695 h 406326"/>
                <a:gd name="connsiteX7" fmla="*/ 71438 w 203335"/>
                <a:gd name="connsiteY7" fmla="*/ 130070 h 406326"/>
                <a:gd name="connsiteX8" fmla="*/ 79375 w 203335"/>
                <a:gd name="connsiteY8" fmla="*/ 109433 h 406326"/>
                <a:gd name="connsiteX9" fmla="*/ 65088 w 203335"/>
                <a:gd name="connsiteY9" fmla="*/ 64983 h 406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335" h="406326">
                  <a:moveTo>
                    <a:pt x="77272" y="0"/>
                  </a:moveTo>
                  <a:lnTo>
                    <a:pt x="203335" y="0"/>
                  </a:lnTo>
                  <a:lnTo>
                    <a:pt x="203335" y="406326"/>
                  </a:lnTo>
                  <a:lnTo>
                    <a:pt x="17694" y="406326"/>
                  </a:lnTo>
                  <a:lnTo>
                    <a:pt x="0" y="282470"/>
                  </a:lnTo>
                  <a:lnTo>
                    <a:pt x="4763" y="211033"/>
                  </a:lnTo>
                  <a:lnTo>
                    <a:pt x="47625" y="177695"/>
                  </a:lnTo>
                  <a:lnTo>
                    <a:pt x="71438" y="130070"/>
                  </a:lnTo>
                  <a:lnTo>
                    <a:pt x="79375" y="109433"/>
                  </a:lnTo>
                  <a:lnTo>
                    <a:pt x="65088" y="64983"/>
                  </a:lnTo>
                  <a:close/>
                </a:path>
              </a:pathLst>
            </a:custGeom>
          </p:spPr>
        </p:pic>
        <p:grpSp>
          <p:nvGrpSpPr>
            <p:cNvPr id="115" name="Group 28">
              <a:extLst>
                <a:ext uri="{FF2B5EF4-FFF2-40B4-BE49-F238E27FC236}">
                  <a16:creationId xmlns:a16="http://schemas.microsoft.com/office/drawing/2014/main" id="{484131E5-36D6-48C8-B32D-3CF74F9B809F}"/>
                </a:ext>
              </a:extLst>
            </p:cNvPr>
            <p:cNvGrpSpPr/>
            <p:nvPr userDrawn="1"/>
          </p:nvGrpSpPr>
          <p:grpSpPr>
            <a:xfrm>
              <a:off x="2641594" y="1770890"/>
              <a:ext cx="614629" cy="1321737"/>
              <a:chOff x="2924175" y="1957388"/>
              <a:chExt cx="677076" cy="1456025"/>
            </a:xfrm>
          </p:grpSpPr>
          <p:pic>
            <p:nvPicPr>
              <p:cNvPr id="117" name="Picture 17">
                <a:extLst>
                  <a:ext uri="{FF2B5EF4-FFF2-40B4-BE49-F238E27FC236}">
                    <a16:creationId xmlns:a16="http://schemas.microsoft.com/office/drawing/2014/main" id="{1F61A064-E499-4E01-9ED0-0BD436A99C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927736" y="1965514"/>
                <a:ext cx="673515" cy="1447899"/>
              </a:xfrm>
              <a:custGeom>
                <a:avLst/>
                <a:gdLst>
                  <a:gd name="connsiteX0" fmla="*/ 77272 w 203335"/>
                  <a:gd name="connsiteY0" fmla="*/ 0 h 406326"/>
                  <a:gd name="connsiteX1" fmla="*/ 203335 w 203335"/>
                  <a:gd name="connsiteY1" fmla="*/ 0 h 406326"/>
                  <a:gd name="connsiteX2" fmla="*/ 203335 w 203335"/>
                  <a:gd name="connsiteY2" fmla="*/ 406326 h 406326"/>
                  <a:gd name="connsiteX3" fmla="*/ 17694 w 203335"/>
                  <a:gd name="connsiteY3" fmla="*/ 406326 h 406326"/>
                  <a:gd name="connsiteX4" fmla="*/ 0 w 203335"/>
                  <a:gd name="connsiteY4" fmla="*/ 282470 h 406326"/>
                  <a:gd name="connsiteX5" fmla="*/ 4763 w 203335"/>
                  <a:gd name="connsiteY5" fmla="*/ 211033 h 406326"/>
                  <a:gd name="connsiteX6" fmla="*/ 47625 w 203335"/>
                  <a:gd name="connsiteY6" fmla="*/ 177695 h 406326"/>
                  <a:gd name="connsiteX7" fmla="*/ 71438 w 203335"/>
                  <a:gd name="connsiteY7" fmla="*/ 130070 h 406326"/>
                  <a:gd name="connsiteX8" fmla="*/ 79375 w 203335"/>
                  <a:gd name="connsiteY8" fmla="*/ 109433 h 406326"/>
                  <a:gd name="connsiteX9" fmla="*/ 65088 w 203335"/>
                  <a:gd name="connsiteY9" fmla="*/ 64983 h 406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3335" h="406326">
                    <a:moveTo>
                      <a:pt x="77272" y="0"/>
                    </a:moveTo>
                    <a:lnTo>
                      <a:pt x="203335" y="0"/>
                    </a:lnTo>
                    <a:lnTo>
                      <a:pt x="203335" y="406326"/>
                    </a:lnTo>
                    <a:lnTo>
                      <a:pt x="17694" y="406326"/>
                    </a:lnTo>
                    <a:lnTo>
                      <a:pt x="0" y="282470"/>
                    </a:lnTo>
                    <a:lnTo>
                      <a:pt x="4763" y="211033"/>
                    </a:lnTo>
                    <a:lnTo>
                      <a:pt x="47625" y="177695"/>
                    </a:lnTo>
                    <a:lnTo>
                      <a:pt x="71438" y="130070"/>
                    </a:lnTo>
                    <a:lnTo>
                      <a:pt x="79375" y="109433"/>
                    </a:lnTo>
                    <a:lnTo>
                      <a:pt x="65088" y="64983"/>
                    </a:lnTo>
                    <a:close/>
                  </a:path>
                </a:pathLst>
              </a:custGeom>
            </p:spPr>
          </p:pic>
          <p:sp>
            <p:nvSpPr>
              <p:cNvPr id="118" name="Freeform 27">
                <a:extLst>
                  <a:ext uri="{FF2B5EF4-FFF2-40B4-BE49-F238E27FC236}">
                    <a16:creationId xmlns:a16="http://schemas.microsoft.com/office/drawing/2014/main" id="{7F48EED2-F16B-4304-820A-61F7980C4B72}"/>
                  </a:ext>
                </a:extLst>
              </p:cNvPr>
              <p:cNvSpPr/>
              <p:nvPr/>
            </p:nvSpPr>
            <p:spPr>
              <a:xfrm>
                <a:off x="2924175" y="1957388"/>
                <a:ext cx="260350" cy="412750"/>
              </a:xfrm>
              <a:custGeom>
                <a:avLst/>
                <a:gdLst>
                  <a:gd name="connsiteX0" fmla="*/ 260350 w 260350"/>
                  <a:gd name="connsiteY0" fmla="*/ 412750 h 412750"/>
                  <a:gd name="connsiteX1" fmla="*/ 0 w 260350"/>
                  <a:gd name="connsiteY1" fmla="*/ 0 h 4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350" h="412750">
                    <a:moveTo>
                      <a:pt x="260350" y="412750"/>
                    </a:moveTo>
                    <a:lnTo>
                      <a:pt x="0" y="0"/>
                    </a:lnTo>
                  </a:path>
                </a:pathLst>
              </a:custGeom>
              <a:noFill/>
              <a:ln w="6350" cap="rnd" cmpd="sng" algn="ctr">
                <a:solidFill>
                  <a:srgbClr val="8B8B8E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16" name="Picture 18">
              <a:extLst>
                <a:ext uri="{FF2B5EF4-FFF2-40B4-BE49-F238E27FC236}">
                  <a16:creationId xmlns:a16="http://schemas.microsoft.com/office/drawing/2014/main" id="{D2359B3B-90C2-439D-9712-E3DD7665B3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789934" y="4555346"/>
              <a:ext cx="369683" cy="496708"/>
            </a:xfrm>
            <a:custGeom>
              <a:avLst/>
              <a:gdLst>
                <a:gd name="connsiteX0" fmla="*/ 77272 w 203335"/>
                <a:gd name="connsiteY0" fmla="*/ 0 h 406326"/>
                <a:gd name="connsiteX1" fmla="*/ 203335 w 203335"/>
                <a:gd name="connsiteY1" fmla="*/ 0 h 406326"/>
                <a:gd name="connsiteX2" fmla="*/ 203335 w 203335"/>
                <a:gd name="connsiteY2" fmla="*/ 406326 h 406326"/>
                <a:gd name="connsiteX3" fmla="*/ 17694 w 203335"/>
                <a:gd name="connsiteY3" fmla="*/ 406326 h 406326"/>
                <a:gd name="connsiteX4" fmla="*/ 0 w 203335"/>
                <a:gd name="connsiteY4" fmla="*/ 282470 h 406326"/>
                <a:gd name="connsiteX5" fmla="*/ 4763 w 203335"/>
                <a:gd name="connsiteY5" fmla="*/ 211033 h 406326"/>
                <a:gd name="connsiteX6" fmla="*/ 47625 w 203335"/>
                <a:gd name="connsiteY6" fmla="*/ 177695 h 406326"/>
                <a:gd name="connsiteX7" fmla="*/ 71438 w 203335"/>
                <a:gd name="connsiteY7" fmla="*/ 130070 h 406326"/>
                <a:gd name="connsiteX8" fmla="*/ 79375 w 203335"/>
                <a:gd name="connsiteY8" fmla="*/ 109433 h 406326"/>
                <a:gd name="connsiteX9" fmla="*/ 65088 w 203335"/>
                <a:gd name="connsiteY9" fmla="*/ 64983 h 406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335" h="406326">
                  <a:moveTo>
                    <a:pt x="77272" y="0"/>
                  </a:moveTo>
                  <a:lnTo>
                    <a:pt x="203335" y="0"/>
                  </a:lnTo>
                  <a:lnTo>
                    <a:pt x="203335" y="406326"/>
                  </a:lnTo>
                  <a:lnTo>
                    <a:pt x="17694" y="406326"/>
                  </a:lnTo>
                  <a:lnTo>
                    <a:pt x="0" y="282470"/>
                  </a:lnTo>
                  <a:lnTo>
                    <a:pt x="4763" y="211033"/>
                  </a:lnTo>
                  <a:lnTo>
                    <a:pt x="47625" y="177695"/>
                  </a:lnTo>
                  <a:lnTo>
                    <a:pt x="71438" y="130070"/>
                  </a:lnTo>
                  <a:lnTo>
                    <a:pt x="79375" y="109433"/>
                  </a:lnTo>
                  <a:lnTo>
                    <a:pt x="65088" y="64983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16322207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9" name="Arc 107">
            <a:extLst>
              <a:ext uri="{FF2B5EF4-FFF2-40B4-BE49-F238E27FC236}">
                <a16:creationId xmlns:a16="http://schemas.microsoft.com/office/drawing/2014/main" id="{3A682275-3F68-424A-9F84-078FCEA38544}"/>
              </a:ext>
            </a:extLst>
          </p:cNvPr>
          <p:cNvSpPr/>
          <p:nvPr userDrawn="1"/>
        </p:nvSpPr>
        <p:spPr>
          <a:xfrm flipH="1">
            <a:off x="3943350" y="1517933"/>
            <a:ext cx="4305300" cy="4305300"/>
          </a:xfrm>
          <a:prstGeom prst="arc">
            <a:avLst>
              <a:gd name="adj1" fmla="val 16200000"/>
              <a:gd name="adj2" fmla="val 5090665"/>
            </a:avLst>
          </a:prstGeom>
          <a:noFill/>
          <a:ln w="25400" cap="rnd" cmpd="sng" algn="ctr"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0" name="Oval 174">
            <a:extLst>
              <a:ext uri="{FF2B5EF4-FFF2-40B4-BE49-F238E27FC236}">
                <a16:creationId xmlns:a16="http://schemas.microsoft.com/office/drawing/2014/main" id="{FF716A25-AFEC-40E8-9E87-BE22A9C3F7EE}"/>
              </a:ext>
            </a:extLst>
          </p:cNvPr>
          <p:cNvSpPr/>
          <p:nvPr userDrawn="1"/>
        </p:nvSpPr>
        <p:spPr>
          <a:xfrm>
            <a:off x="4311650" y="1886233"/>
            <a:ext cx="3568700" cy="3568700"/>
          </a:xfrm>
          <a:prstGeom prst="ellipse">
            <a:avLst/>
          </a:prstGeom>
          <a:noFill/>
          <a:ln w="28575" cap="rnd" cmpd="sng" algn="ctr">
            <a:solidFill>
              <a:schemeClr val="bg1">
                <a:lumMod val="50000"/>
                <a:alpha val="1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21" name="Oval 9">
            <a:extLst>
              <a:ext uri="{FF2B5EF4-FFF2-40B4-BE49-F238E27FC236}">
                <a16:creationId xmlns:a16="http://schemas.microsoft.com/office/drawing/2014/main" id="{B1F23B13-1848-4506-9D3B-18C6FBDA2956}"/>
              </a:ext>
            </a:extLst>
          </p:cNvPr>
          <p:cNvSpPr/>
          <p:nvPr userDrawn="1"/>
        </p:nvSpPr>
        <p:spPr>
          <a:xfrm>
            <a:off x="4679950" y="2254533"/>
            <a:ext cx="2832100" cy="2832100"/>
          </a:xfrm>
          <a:prstGeom prst="ellipse">
            <a:avLst/>
          </a:prstGeom>
          <a:solidFill>
            <a:schemeClr val="accent1"/>
          </a:solidFill>
          <a:ln w="9525" cap="rnd" cmpd="sng" algn="ctr">
            <a:solidFill>
              <a:schemeClr val="bg1">
                <a:lumMod val="50000"/>
                <a:alpha val="3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22" name="Arc 1">
            <a:extLst>
              <a:ext uri="{FF2B5EF4-FFF2-40B4-BE49-F238E27FC236}">
                <a16:creationId xmlns:a16="http://schemas.microsoft.com/office/drawing/2014/main" id="{F5ACCB6F-5F0C-4274-8361-26E3223C7E8C}"/>
              </a:ext>
            </a:extLst>
          </p:cNvPr>
          <p:cNvSpPr/>
          <p:nvPr userDrawn="1"/>
        </p:nvSpPr>
        <p:spPr>
          <a:xfrm>
            <a:off x="3943350" y="1517933"/>
            <a:ext cx="4305300" cy="4305300"/>
          </a:xfrm>
          <a:prstGeom prst="arc">
            <a:avLst>
              <a:gd name="adj1" fmla="val 16200000"/>
              <a:gd name="adj2" fmla="val 5090665"/>
            </a:avLst>
          </a:prstGeom>
          <a:noFill/>
          <a:ln w="25400" cap="rnd" cmpd="sng" algn="ctr"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4" name="图片 123">
            <a:extLst>
              <a:ext uri="{FF2B5EF4-FFF2-40B4-BE49-F238E27FC236}">
                <a16:creationId xmlns:a16="http://schemas.microsoft.com/office/drawing/2014/main" id="{935B0008-0ACD-4949-8791-27196AAD09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8499" y="1860740"/>
            <a:ext cx="1755002" cy="36196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图片占位符 6">
            <a:extLst>
              <a:ext uri="{FF2B5EF4-FFF2-40B4-BE49-F238E27FC236}">
                <a16:creationId xmlns:a16="http://schemas.microsoft.com/office/drawing/2014/main" id="{9FEB4625-D543-4A2E-9EEB-55BC19BC27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49419" y="2188833"/>
            <a:ext cx="1490662" cy="296012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3896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A4285C90-BF3D-4320-B418-920AAA84C544}"/>
              </a:ext>
            </a:extLst>
          </p:cNvPr>
          <p:cNvGrpSpPr/>
          <p:nvPr userDrawn="1"/>
        </p:nvGrpSpPr>
        <p:grpSpPr>
          <a:xfrm>
            <a:off x="6965018" y="1196975"/>
            <a:ext cx="4747557" cy="4666145"/>
            <a:chOff x="6965018" y="1196975"/>
            <a:chExt cx="4747557" cy="4666145"/>
          </a:xfrm>
        </p:grpSpPr>
        <p:sp>
          <p:nvSpPr>
            <p:cNvPr id="113" name="Oval 9">
              <a:extLst>
                <a:ext uri="{FF2B5EF4-FFF2-40B4-BE49-F238E27FC236}">
                  <a16:creationId xmlns:a16="http://schemas.microsoft.com/office/drawing/2014/main" id="{FC3E0345-7740-4D1B-83ED-387771735BDA}"/>
                </a:ext>
              </a:extLst>
            </p:cNvPr>
            <p:cNvSpPr/>
            <p:nvPr/>
          </p:nvSpPr>
          <p:spPr>
            <a:xfrm>
              <a:off x="7295821" y="1196975"/>
              <a:ext cx="4416754" cy="4416754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14" name="Oval 9">
              <a:extLst>
                <a:ext uri="{FF2B5EF4-FFF2-40B4-BE49-F238E27FC236}">
                  <a16:creationId xmlns:a16="http://schemas.microsoft.com/office/drawing/2014/main" id="{7E2210BA-4C6F-4C87-862C-75328466F5A3}"/>
                </a:ext>
              </a:extLst>
            </p:cNvPr>
            <p:cNvSpPr/>
            <p:nvPr/>
          </p:nvSpPr>
          <p:spPr>
            <a:xfrm>
              <a:off x="6965018" y="1446366"/>
              <a:ext cx="4416754" cy="441675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bg1">
                      <a:lumMod val="50000"/>
                      <a:alpha val="3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15" name="Oval 9">
              <a:extLst>
                <a:ext uri="{FF2B5EF4-FFF2-40B4-BE49-F238E27FC236}">
                  <a16:creationId xmlns:a16="http://schemas.microsoft.com/office/drawing/2014/main" id="{A25B7089-0098-4756-9A00-430BFC8DBDFD}"/>
                </a:ext>
              </a:extLst>
            </p:cNvPr>
            <p:cNvSpPr/>
            <p:nvPr/>
          </p:nvSpPr>
          <p:spPr>
            <a:xfrm>
              <a:off x="7127276" y="1347446"/>
              <a:ext cx="4416754" cy="4416754"/>
            </a:xfrm>
            <a:prstGeom prst="ellips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bg1">
                      <a:lumMod val="50000"/>
                      <a:alpha val="3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17" name="Picture 3">
            <a:extLst>
              <a:ext uri="{FF2B5EF4-FFF2-40B4-BE49-F238E27FC236}">
                <a16:creationId xmlns:a16="http://schemas.microsoft.com/office/drawing/2014/main" id="{344FF78F-2733-4960-9544-15ECD3BA26E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07" t="7071" b="11482"/>
          <a:stretch/>
        </p:blipFill>
        <p:spPr>
          <a:xfrm>
            <a:off x="7666730" y="1574157"/>
            <a:ext cx="4717262" cy="60638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9" name="图片 118">
            <a:extLst>
              <a:ext uri="{FF2B5EF4-FFF2-40B4-BE49-F238E27FC236}">
                <a16:creationId xmlns:a16="http://schemas.microsoft.com/office/drawing/2014/main" id="{E136F298-3B01-49DF-98E8-BECC159CA1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595" y="1548224"/>
            <a:ext cx="2154575" cy="4443804"/>
          </a:xfrm>
          <a:prstGeom prst="rect">
            <a:avLst/>
          </a:prstGeom>
        </p:spPr>
      </p:pic>
      <p:sp>
        <p:nvSpPr>
          <p:cNvPr id="7" name="图片占位符 6">
            <a:extLst>
              <a:ext uri="{FF2B5EF4-FFF2-40B4-BE49-F238E27FC236}">
                <a16:creationId xmlns:a16="http://schemas.microsoft.com/office/drawing/2014/main" id="{E214E363-B5DD-4285-BFD7-71105DAD49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61323" y="1951016"/>
            <a:ext cx="1830051" cy="363407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89417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2" name="ísļïḑé">
            <a:extLst>
              <a:ext uri="{FF2B5EF4-FFF2-40B4-BE49-F238E27FC236}">
                <a16:creationId xmlns:a16="http://schemas.microsoft.com/office/drawing/2014/main" id="{8513E4AF-CB38-4094-A67D-4995B4FBDAE2}"/>
              </a:ext>
            </a:extLst>
          </p:cNvPr>
          <p:cNvSpPr/>
          <p:nvPr userDrawn="1"/>
        </p:nvSpPr>
        <p:spPr bwMode="auto">
          <a:xfrm>
            <a:off x="1" y="0"/>
            <a:ext cx="5239656" cy="6110514"/>
          </a:xfrm>
          <a:custGeom>
            <a:avLst/>
            <a:gdLst>
              <a:gd name="connsiteX0" fmla="*/ 0 w 5239656"/>
              <a:gd name="connsiteY0" fmla="*/ 0 h 6110514"/>
              <a:gd name="connsiteX1" fmla="*/ 4971607 w 5239656"/>
              <a:gd name="connsiteY1" fmla="*/ 0 h 6110514"/>
              <a:gd name="connsiteX2" fmla="*/ 5018447 w 5239656"/>
              <a:gd name="connsiteY2" fmla="*/ 120096 h 6110514"/>
              <a:gd name="connsiteX3" fmla="*/ 5239656 w 5239656"/>
              <a:gd name="connsiteY3" fmla="*/ 1493157 h 6110514"/>
              <a:gd name="connsiteX4" fmla="*/ 319313 w 5239656"/>
              <a:gd name="connsiteY4" fmla="*/ 6110514 h 6110514"/>
              <a:gd name="connsiteX5" fmla="*/ 66113 w 5239656"/>
              <a:gd name="connsiteY5" fmla="*/ 6104506 h 6110514"/>
              <a:gd name="connsiteX6" fmla="*/ 0 w 5239656"/>
              <a:gd name="connsiteY6" fmla="*/ 6099788 h 611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39656" h="6110514">
                <a:moveTo>
                  <a:pt x="0" y="0"/>
                </a:moveTo>
                <a:lnTo>
                  <a:pt x="4971607" y="0"/>
                </a:lnTo>
                <a:lnTo>
                  <a:pt x="5018447" y="120096"/>
                </a:lnTo>
                <a:cubicBezTo>
                  <a:pt x="5162210" y="553846"/>
                  <a:pt x="5239656" y="1015014"/>
                  <a:pt x="5239656" y="1493157"/>
                </a:cubicBezTo>
                <a:cubicBezTo>
                  <a:pt x="5239656" y="4043253"/>
                  <a:pt x="3036743" y="6110514"/>
                  <a:pt x="319313" y="6110514"/>
                </a:cubicBezTo>
                <a:cubicBezTo>
                  <a:pt x="234394" y="6110514"/>
                  <a:pt x="149977" y="6108495"/>
                  <a:pt x="66113" y="6104506"/>
                </a:cubicBezTo>
                <a:lnTo>
                  <a:pt x="0" y="6099788"/>
                </a:ln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zh-CN" altLang="en-US" sz="2000" b="1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114" name="íSḷíďê">
            <a:extLst>
              <a:ext uri="{FF2B5EF4-FFF2-40B4-BE49-F238E27FC236}">
                <a16:creationId xmlns:a16="http://schemas.microsoft.com/office/drawing/2014/main" id="{7B6CB595-7A06-40B9-94DC-8A4597F3FB8E}"/>
              </a:ext>
            </a:extLst>
          </p:cNvPr>
          <p:cNvGrpSpPr/>
          <p:nvPr/>
        </p:nvGrpSpPr>
        <p:grpSpPr>
          <a:xfrm>
            <a:off x="685801" y="1447800"/>
            <a:ext cx="5445422" cy="4573492"/>
            <a:chOff x="1127448" y="1664803"/>
            <a:chExt cx="4844146" cy="4068453"/>
          </a:xfrm>
        </p:grpSpPr>
        <p:sp>
          <p:nvSpPr>
            <p:cNvPr id="116" name="íṩ1îďe">
              <a:extLst>
                <a:ext uri="{FF2B5EF4-FFF2-40B4-BE49-F238E27FC236}">
                  <a16:creationId xmlns:a16="http://schemas.microsoft.com/office/drawing/2014/main" id="{DDE917DA-23BA-4F92-9096-C19E60EF44DB}"/>
                </a:ext>
              </a:extLst>
            </p:cNvPr>
            <p:cNvSpPr/>
            <p:nvPr/>
          </p:nvSpPr>
          <p:spPr bwMode="auto">
            <a:xfrm>
              <a:off x="2672089" y="5707399"/>
              <a:ext cx="1779597" cy="25857"/>
            </a:xfrm>
            <a:custGeom>
              <a:avLst/>
              <a:gdLst>
                <a:gd name="T0" fmla="*/ 6776 w 6981"/>
                <a:gd name="T1" fmla="*/ 0 h 103"/>
                <a:gd name="T2" fmla="*/ 6776 w 6981"/>
                <a:gd name="T3" fmla="*/ 0 h 103"/>
                <a:gd name="T4" fmla="*/ 203 w 6981"/>
                <a:gd name="T5" fmla="*/ 0 h 103"/>
                <a:gd name="T6" fmla="*/ 0 w 6981"/>
                <a:gd name="T7" fmla="*/ 46 h 103"/>
                <a:gd name="T8" fmla="*/ 0 w 6981"/>
                <a:gd name="T9" fmla="*/ 55 h 103"/>
                <a:gd name="T10" fmla="*/ 203 w 6981"/>
                <a:gd name="T11" fmla="*/ 102 h 103"/>
                <a:gd name="T12" fmla="*/ 6776 w 6981"/>
                <a:gd name="T13" fmla="*/ 102 h 103"/>
                <a:gd name="T14" fmla="*/ 6980 w 6981"/>
                <a:gd name="T15" fmla="*/ 55 h 103"/>
                <a:gd name="T16" fmla="*/ 6980 w 6981"/>
                <a:gd name="T17" fmla="*/ 46 h 103"/>
                <a:gd name="T18" fmla="*/ 6776 w 6981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81" h="103">
                  <a:moveTo>
                    <a:pt x="6776" y="0"/>
                  </a:moveTo>
                  <a:lnTo>
                    <a:pt x="6776" y="0"/>
                  </a:lnTo>
                  <a:cubicBezTo>
                    <a:pt x="203" y="0"/>
                    <a:pt x="203" y="0"/>
                    <a:pt x="203" y="0"/>
                  </a:cubicBezTo>
                  <a:cubicBezTo>
                    <a:pt x="92" y="0"/>
                    <a:pt x="0" y="18"/>
                    <a:pt x="0" y="4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83"/>
                    <a:pt x="92" y="102"/>
                    <a:pt x="203" y="102"/>
                  </a:cubicBezTo>
                  <a:cubicBezTo>
                    <a:pt x="6776" y="102"/>
                    <a:pt x="6776" y="102"/>
                    <a:pt x="6776" y="102"/>
                  </a:cubicBezTo>
                  <a:cubicBezTo>
                    <a:pt x="6887" y="102"/>
                    <a:pt x="6980" y="83"/>
                    <a:pt x="6980" y="55"/>
                  </a:cubicBezTo>
                  <a:cubicBezTo>
                    <a:pt x="6980" y="46"/>
                    <a:pt x="6980" y="46"/>
                    <a:pt x="6980" y="46"/>
                  </a:cubicBezTo>
                  <a:cubicBezTo>
                    <a:pt x="6980" y="18"/>
                    <a:pt x="6887" y="0"/>
                    <a:pt x="6776" y="0"/>
                  </a:cubicBezTo>
                </a:path>
              </a:pathLst>
            </a:custGeom>
            <a:solidFill>
              <a:srgbClr val="BCBDC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17" name="ïšļíḑè">
              <a:extLst>
                <a:ext uri="{FF2B5EF4-FFF2-40B4-BE49-F238E27FC236}">
                  <a16:creationId xmlns:a16="http://schemas.microsoft.com/office/drawing/2014/main" id="{9304D569-0AEF-4C1B-8B60-D4BD53AEBA7B}"/>
                </a:ext>
              </a:extLst>
            </p:cNvPr>
            <p:cNvSpPr/>
            <p:nvPr/>
          </p:nvSpPr>
          <p:spPr bwMode="auto">
            <a:xfrm>
              <a:off x="1127448" y="1664803"/>
              <a:ext cx="4844146" cy="2931894"/>
            </a:xfrm>
            <a:custGeom>
              <a:avLst/>
              <a:gdLst>
                <a:gd name="T0" fmla="*/ 18999 w 19000"/>
                <a:gd name="T1" fmla="*/ 11499 h 11500"/>
                <a:gd name="T2" fmla="*/ 18999 w 19000"/>
                <a:gd name="T3" fmla="*/ 11499 h 11500"/>
                <a:gd name="T4" fmla="*/ 18999 w 19000"/>
                <a:gd name="T5" fmla="*/ 630 h 11500"/>
                <a:gd name="T6" fmla="*/ 18369 w 19000"/>
                <a:gd name="T7" fmla="*/ 0 h 11500"/>
                <a:gd name="T8" fmla="*/ 630 w 19000"/>
                <a:gd name="T9" fmla="*/ 0 h 11500"/>
                <a:gd name="T10" fmla="*/ 0 w 19000"/>
                <a:gd name="T11" fmla="*/ 630 h 11500"/>
                <a:gd name="T12" fmla="*/ 0 w 19000"/>
                <a:gd name="T13" fmla="*/ 11499 h 11500"/>
                <a:gd name="T14" fmla="*/ 18999 w 19000"/>
                <a:gd name="T15" fmla="*/ 11499 h 11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000" h="11500">
                  <a:moveTo>
                    <a:pt x="18999" y="11499"/>
                  </a:moveTo>
                  <a:lnTo>
                    <a:pt x="18999" y="11499"/>
                  </a:lnTo>
                  <a:cubicBezTo>
                    <a:pt x="18999" y="630"/>
                    <a:pt x="18999" y="630"/>
                    <a:pt x="18999" y="630"/>
                  </a:cubicBezTo>
                  <a:cubicBezTo>
                    <a:pt x="18999" y="287"/>
                    <a:pt x="18712" y="0"/>
                    <a:pt x="18369" y="0"/>
                  </a:cubicBezTo>
                  <a:cubicBezTo>
                    <a:pt x="630" y="0"/>
                    <a:pt x="630" y="0"/>
                    <a:pt x="630" y="0"/>
                  </a:cubicBezTo>
                  <a:cubicBezTo>
                    <a:pt x="278" y="0"/>
                    <a:pt x="0" y="287"/>
                    <a:pt x="0" y="630"/>
                  </a:cubicBezTo>
                  <a:cubicBezTo>
                    <a:pt x="0" y="11499"/>
                    <a:pt x="0" y="11499"/>
                    <a:pt x="0" y="11499"/>
                  </a:cubicBezTo>
                  <a:lnTo>
                    <a:pt x="18999" y="11499"/>
                  </a:ln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18" name="iŝ1ïḑè">
              <a:extLst>
                <a:ext uri="{FF2B5EF4-FFF2-40B4-BE49-F238E27FC236}">
                  <a16:creationId xmlns:a16="http://schemas.microsoft.com/office/drawing/2014/main" id="{90E41354-93F4-4230-AAE8-3E41ED5C631A}"/>
                </a:ext>
              </a:extLst>
            </p:cNvPr>
            <p:cNvSpPr/>
            <p:nvPr/>
          </p:nvSpPr>
          <p:spPr bwMode="auto">
            <a:xfrm>
              <a:off x="2672089" y="5131812"/>
              <a:ext cx="1779597" cy="590202"/>
            </a:xfrm>
            <a:custGeom>
              <a:avLst/>
              <a:gdLst>
                <a:gd name="T0" fmla="*/ 6924 w 6981"/>
                <a:gd name="T1" fmla="*/ 2138 h 2315"/>
                <a:gd name="T2" fmla="*/ 6924 w 6981"/>
                <a:gd name="T3" fmla="*/ 2138 h 2315"/>
                <a:gd name="T4" fmla="*/ 6249 w 6981"/>
                <a:gd name="T5" fmla="*/ 2000 h 2315"/>
                <a:gd name="T6" fmla="*/ 6036 w 6981"/>
                <a:gd name="T7" fmla="*/ 1712 h 2315"/>
                <a:gd name="T8" fmla="*/ 5897 w 6981"/>
                <a:gd name="T9" fmla="*/ 0 h 2315"/>
                <a:gd name="T10" fmla="*/ 1074 w 6981"/>
                <a:gd name="T11" fmla="*/ 0 h 2315"/>
                <a:gd name="T12" fmla="*/ 944 w 6981"/>
                <a:gd name="T13" fmla="*/ 1712 h 2315"/>
                <a:gd name="T14" fmla="*/ 731 w 6981"/>
                <a:gd name="T15" fmla="*/ 2000 h 2315"/>
                <a:gd name="T16" fmla="*/ 37 w 6981"/>
                <a:gd name="T17" fmla="*/ 2148 h 2315"/>
                <a:gd name="T18" fmla="*/ 0 w 6981"/>
                <a:gd name="T19" fmla="*/ 2185 h 2315"/>
                <a:gd name="T20" fmla="*/ 0 w 6981"/>
                <a:gd name="T21" fmla="*/ 2314 h 2315"/>
                <a:gd name="T22" fmla="*/ 18 w 6981"/>
                <a:gd name="T23" fmla="*/ 2314 h 2315"/>
                <a:gd name="T24" fmla="*/ 6961 w 6981"/>
                <a:gd name="T25" fmla="*/ 2314 h 2315"/>
                <a:gd name="T26" fmla="*/ 6980 w 6981"/>
                <a:gd name="T27" fmla="*/ 2314 h 2315"/>
                <a:gd name="T28" fmla="*/ 6980 w 6981"/>
                <a:gd name="T29" fmla="*/ 2185 h 2315"/>
                <a:gd name="T30" fmla="*/ 6924 w 6981"/>
                <a:gd name="T31" fmla="*/ 2138 h 2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981" h="2315">
                  <a:moveTo>
                    <a:pt x="6924" y="2138"/>
                  </a:moveTo>
                  <a:lnTo>
                    <a:pt x="6924" y="2138"/>
                  </a:lnTo>
                  <a:cubicBezTo>
                    <a:pt x="6795" y="2111"/>
                    <a:pt x="6443" y="2037"/>
                    <a:pt x="6249" y="2000"/>
                  </a:cubicBezTo>
                  <a:cubicBezTo>
                    <a:pt x="6008" y="1944"/>
                    <a:pt x="6036" y="1712"/>
                    <a:pt x="6036" y="1712"/>
                  </a:cubicBezTo>
                  <a:cubicBezTo>
                    <a:pt x="5897" y="0"/>
                    <a:pt x="5897" y="0"/>
                    <a:pt x="5897" y="0"/>
                  </a:cubicBezTo>
                  <a:cubicBezTo>
                    <a:pt x="1074" y="0"/>
                    <a:pt x="1074" y="0"/>
                    <a:pt x="1074" y="0"/>
                  </a:cubicBezTo>
                  <a:cubicBezTo>
                    <a:pt x="944" y="1712"/>
                    <a:pt x="944" y="1712"/>
                    <a:pt x="944" y="1712"/>
                  </a:cubicBezTo>
                  <a:cubicBezTo>
                    <a:pt x="944" y="1712"/>
                    <a:pt x="972" y="1944"/>
                    <a:pt x="731" y="2000"/>
                  </a:cubicBezTo>
                  <a:cubicBezTo>
                    <a:pt x="527" y="2046"/>
                    <a:pt x="148" y="2120"/>
                    <a:pt x="37" y="2148"/>
                  </a:cubicBezTo>
                  <a:cubicBezTo>
                    <a:pt x="0" y="2157"/>
                    <a:pt x="0" y="2185"/>
                    <a:pt x="0" y="2185"/>
                  </a:cubicBezTo>
                  <a:cubicBezTo>
                    <a:pt x="0" y="2314"/>
                    <a:pt x="0" y="2314"/>
                    <a:pt x="0" y="2314"/>
                  </a:cubicBezTo>
                  <a:cubicBezTo>
                    <a:pt x="18" y="2314"/>
                    <a:pt x="18" y="2314"/>
                    <a:pt x="18" y="2314"/>
                  </a:cubicBezTo>
                  <a:cubicBezTo>
                    <a:pt x="6961" y="2314"/>
                    <a:pt x="6961" y="2314"/>
                    <a:pt x="6961" y="2314"/>
                  </a:cubicBezTo>
                  <a:cubicBezTo>
                    <a:pt x="6980" y="2314"/>
                    <a:pt x="6980" y="2314"/>
                    <a:pt x="6980" y="2314"/>
                  </a:cubicBezTo>
                  <a:cubicBezTo>
                    <a:pt x="6980" y="2185"/>
                    <a:pt x="6980" y="2185"/>
                    <a:pt x="6980" y="2185"/>
                  </a:cubicBezTo>
                  <a:cubicBezTo>
                    <a:pt x="6980" y="2185"/>
                    <a:pt x="6980" y="2157"/>
                    <a:pt x="6924" y="2138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19" name="íŝ1ïḑe">
              <a:extLst>
                <a:ext uri="{FF2B5EF4-FFF2-40B4-BE49-F238E27FC236}">
                  <a16:creationId xmlns:a16="http://schemas.microsoft.com/office/drawing/2014/main" id="{8535B127-8AC1-4318-9705-A11F3F9987D6}"/>
                </a:ext>
              </a:extLst>
            </p:cNvPr>
            <p:cNvSpPr/>
            <p:nvPr/>
          </p:nvSpPr>
          <p:spPr bwMode="auto">
            <a:xfrm>
              <a:off x="1127448" y="4596697"/>
              <a:ext cx="4844146" cy="536240"/>
            </a:xfrm>
            <a:custGeom>
              <a:avLst/>
              <a:gdLst>
                <a:gd name="T0" fmla="*/ 0 w 19000"/>
                <a:gd name="T1" fmla="*/ 0 h 2103"/>
                <a:gd name="T2" fmla="*/ 0 w 19000"/>
                <a:gd name="T3" fmla="*/ 0 h 2103"/>
                <a:gd name="T4" fmla="*/ 0 w 19000"/>
                <a:gd name="T5" fmla="*/ 1472 h 2103"/>
                <a:gd name="T6" fmla="*/ 630 w 19000"/>
                <a:gd name="T7" fmla="*/ 2102 h 2103"/>
                <a:gd name="T8" fmla="*/ 18369 w 19000"/>
                <a:gd name="T9" fmla="*/ 2102 h 2103"/>
                <a:gd name="T10" fmla="*/ 18999 w 19000"/>
                <a:gd name="T11" fmla="*/ 1472 h 2103"/>
                <a:gd name="T12" fmla="*/ 18999 w 19000"/>
                <a:gd name="T13" fmla="*/ 0 h 2103"/>
                <a:gd name="T14" fmla="*/ 0 w 19000"/>
                <a:gd name="T15" fmla="*/ 0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000" h="2103">
                  <a:moveTo>
                    <a:pt x="0" y="0"/>
                  </a:moveTo>
                  <a:lnTo>
                    <a:pt x="0" y="0"/>
                  </a:lnTo>
                  <a:cubicBezTo>
                    <a:pt x="0" y="1472"/>
                    <a:pt x="0" y="1472"/>
                    <a:pt x="0" y="1472"/>
                  </a:cubicBezTo>
                  <a:cubicBezTo>
                    <a:pt x="0" y="1824"/>
                    <a:pt x="278" y="2102"/>
                    <a:pt x="630" y="2102"/>
                  </a:cubicBezTo>
                  <a:cubicBezTo>
                    <a:pt x="18369" y="2102"/>
                    <a:pt x="18369" y="2102"/>
                    <a:pt x="18369" y="2102"/>
                  </a:cubicBezTo>
                  <a:cubicBezTo>
                    <a:pt x="18712" y="2102"/>
                    <a:pt x="18999" y="1824"/>
                    <a:pt x="18999" y="1472"/>
                  </a:cubicBezTo>
                  <a:cubicBezTo>
                    <a:pt x="18999" y="0"/>
                    <a:pt x="18999" y="0"/>
                    <a:pt x="18999" y="0"/>
                  </a:cubicBezTo>
                  <a:lnTo>
                    <a:pt x="0" y="0"/>
                  </a:lnTo>
                </a:path>
              </a:pathLst>
            </a:custGeom>
            <a:solidFill>
              <a:srgbClr val="F4F4F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20" name="ï$ļíḍe">
              <a:extLst>
                <a:ext uri="{FF2B5EF4-FFF2-40B4-BE49-F238E27FC236}">
                  <a16:creationId xmlns:a16="http://schemas.microsoft.com/office/drawing/2014/main" id="{91687AC5-2878-4E90-A063-D44E1528F1D5}"/>
                </a:ext>
              </a:extLst>
            </p:cNvPr>
            <p:cNvSpPr/>
            <p:nvPr/>
          </p:nvSpPr>
          <p:spPr bwMode="auto">
            <a:xfrm>
              <a:off x="2672089" y="5679295"/>
              <a:ext cx="1779597" cy="42719"/>
            </a:xfrm>
            <a:custGeom>
              <a:avLst/>
              <a:gdLst>
                <a:gd name="T0" fmla="*/ 6943 w 6981"/>
                <a:gd name="T1" fmla="*/ 0 h 167"/>
                <a:gd name="T2" fmla="*/ 6943 w 6981"/>
                <a:gd name="T3" fmla="*/ 0 h 167"/>
                <a:gd name="T4" fmla="*/ 27 w 6981"/>
                <a:gd name="T5" fmla="*/ 0 h 167"/>
                <a:gd name="T6" fmla="*/ 0 w 6981"/>
                <a:gd name="T7" fmla="*/ 37 h 167"/>
                <a:gd name="T8" fmla="*/ 0 w 6981"/>
                <a:gd name="T9" fmla="*/ 166 h 167"/>
                <a:gd name="T10" fmla="*/ 18 w 6981"/>
                <a:gd name="T11" fmla="*/ 166 h 167"/>
                <a:gd name="T12" fmla="*/ 6961 w 6981"/>
                <a:gd name="T13" fmla="*/ 166 h 167"/>
                <a:gd name="T14" fmla="*/ 6980 w 6981"/>
                <a:gd name="T15" fmla="*/ 166 h 167"/>
                <a:gd name="T16" fmla="*/ 6980 w 6981"/>
                <a:gd name="T17" fmla="*/ 37 h 167"/>
                <a:gd name="T18" fmla="*/ 6943 w 6981"/>
                <a:gd name="T19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81" h="167">
                  <a:moveTo>
                    <a:pt x="6943" y="0"/>
                  </a:moveTo>
                  <a:lnTo>
                    <a:pt x="6943" y="0"/>
                  </a:lnTo>
                  <a:cubicBezTo>
                    <a:pt x="27" y="0"/>
                    <a:pt x="27" y="0"/>
                    <a:pt x="27" y="0"/>
                  </a:cubicBezTo>
                  <a:cubicBezTo>
                    <a:pt x="0" y="9"/>
                    <a:pt x="0" y="37"/>
                    <a:pt x="0" y="37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6961" y="166"/>
                    <a:pt x="6961" y="166"/>
                    <a:pt x="6961" y="166"/>
                  </a:cubicBezTo>
                  <a:cubicBezTo>
                    <a:pt x="6980" y="166"/>
                    <a:pt x="6980" y="166"/>
                    <a:pt x="6980" y="166"/>
                  </a:cubicBezTo>
                  <a:cubicBezTo>
                    <a:pt x="6980" y="37"/>
                    <a:pt x="6980" y="37"/>
                    <a:pt x="6980" y="37"/>
                  </a:cubicBezTo>
                  <a:cubicBezTo>
                    <a:pt x="6980" y="37"/>
                    <a:pt x="6980" y="18"/>
                    <a:pt x="6943" y="0"/>
                  </a:cubicBezTo>
                </a:path>
              </a:pathLst>
            </a:custGeom>
            <a:solidFill>
              <a:srgbClr val="D1D2D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21" name="îŝļïḓê">
              <a:extLst>
                <a:ext uri="{FF2B5EF4-FFF2-40B4-BE49-F238E27FC236}">
                  <a16:creationId xmlns:a16="http://schemas.microsoft.com/office/drawing/2014/main" id="{26BFE5A6-F176-4D37-ACAF-0F1D3D2B1B91}"/>
                </a:ext>
              </a:extLst>
            </p:cNvPr>
            <p:cNvSpPr/>
            <p:nvPr/>
          </p:nvSpPr>
          <p:spPr bwMode="auto">
            <a:xfrm>
              <a:off x="1354534" y="1877276"/>
              <a:ext cx="4387724" cy="2485589"/>
            </a:xfrm>
            <a:custGeom>
              <a:avLst/>
              <a:gdLst>
                <a:gd name="T0" fmla="*/ 17212 w 17213"/>
                <a:gd name="T1" fmla="*/ 9749 h 9750"/>
                <a:gd name="T2" fmla="*/ 0 w 17213"/>
                <a:gd name="T3" fmla="*/ 9749 h 9750"/>
                <a:gd name="T4" fmla="*/ 0 w 17213"/>
                <a:gd name="T5" fmla="*/ 0 h 9750"/>
                <a:gd name="T6" fmla="*/ 17212 w 17213"/>
                <a:gd name="T7" fmla="*/ 0 h 9750"/>
                <a:gd name="T8" fmla="*/ 17212 w 17213"/>
                <a:gd name="T9" fmla="*/ 9749 h 9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13" h="9750">
                  <a:moveTo>
                    <a:pt x="17212" y="9749"/>
                  </a:moveTo>
                  <a:lnTo>
                    <a:pt x="0" y="9749"/>
                  </a:lnTo>
                  <a:lnTo>
                    <a:pt x="0" y="0"/>
                  </a:lnTo>
                  <a:lnTo>
                    <a:pt x="17212" y="0"/>
                  </a:lnTo>
                  <a:lnTo>
                    <a:pt x="17212" y="9749"/>
                  </a:lnTo>
                </a:path>
              </a:pathLst>
            </a:custGeom>
            <a:pattFill prst="pct5">
              <a:fgClr>
                <a:srgbClr val="E4E6EA"/>
              </a:fgClr>
              <a:bgClr>
                <a:srgbClr val="ADB5BF"/>
              </a:bgClr>
            </a:pattFill>
            <a:ln w="63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图片占位符 6">
            <a:extLst>
              <a:ext uri="{FF2B5EF4-FFF2-40B4-BE49-F238E27FC236}">
                <a16:creationId xmlns:a16="http://schemas.microsoft.com/office/drawing/2014/main" id="{26DCA91A-75CC-4455-BB63-9D6C822B9BB8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909471" y="1700953"/>
            <a:ext cx="5062385" cy="284777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23" name="任意多边形: 形状 122">
            <a:extLst>
              <a:ext uri="{FF2B5EF4-FFF2-40B4-BE49-F238E27FC236}">
                <a16:creationId xmlns:a16="http://schemas.microsoft.com/office/drawing/2014/main" id="{51A708EA-D2BA-462D-B224-2514D0D70D0A}"/>
              </a:ext>
            </a:extLst>
          </p:cNvPr>
          <p:cNvSpPr/>
          <p:nvPr userDrawn="1"/>
        </p:nvSpPr>
        <p:spPr>
          <a:xfrm>
            <a:off x="11607478" y="0"/>
            <a:ext cx="584522" cy="584522"/>
          </a:xfrm>
          <a:custGeom>
            <a:avLst/>
            <a:gdLst>
              <a:gd name="connsiteX0" fmla="*/ 0 w 584522"/>
              <a:gd name="connsiteY0" fmla="*/ 0 h 584522"/>
              <a:gd name="connsiteX1" fmla="*/ 584522 w 584522"/>
              <a:gd name="connsiteY1" fmla="*/ 0 h 584522"/>
              <a:gd name="connsiteX2" fmla="*/ 584522 w 584522"/>
              <a:gd name="connsiteY2" fmla="*/ 584522 h 584522"/>
              <a:gd name="connsiteX3" fmla="*/ 0 w 584522"/>
              <a:gd name="connsiteY3" fmla="*/ 0 h 58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4522" h="584522">
                <a:moveTo>
                  <a:pt x="0" y="0"/>
                </a:moveTo>
                <a:lnTo>
                  <a:pt x="584522" y="0"/>
                </a:lnTo>
                <a:lnTo>
                  <a:pt x="584522" y="584522"/>
                </a:lnTo>
                <a:cubicBezTo>
                  <a:pt x="261699" y="584522"/>
                  <a:pt x="0" y="322823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4" name="任意多边形: 形状 123">
            <a:extLst>
              <a:ext uri="{FF2B5EF4-FFF2-40B4-BE49-F238E27FC236}">
                <a16:creationId xmlns:a16="http://schemas.microsoft.com/office/drawing/2014/main" id="{687AE2F6-D251-49A6-AD34-9BE33E65C4B0}"/>
              </a:ext>
            </a:extLst>
          </p:cNvPr>
          <p:cNvSpPr/>
          <p:nvPr userDrawn="1"/>
        </p:nvSpPr>
        <p:spPr>
          <a:xfrm>
            <a:off x="10845478" y="5803909"/>
            <a:ext cx="1346522" cy="1054092"/>
          </a:xfrm>
          <a:custGeom>
            <a:avLst/>
            <a:gdLst>
              <a:gd name="connsiteX0" fmla="*/ 583355 w 731896"/>
              <a:gd name="connsiteY0" fmla="*/ 0 h 572947"/>
              <a:gd name="connsiteX1" fmla="*/ 701157 w 731896"/>
              <a:gd name="connsiteY1" fmla="*/ 11876 h 572947"/>
              <a:gd name="connsiteX2" fmla="*/ 731896 w 731896"/>
              <a:gd name="connsiteY2" fmla="*/ 21418 h 572947"/>
              <a:gd name="connsiteX3" fmla="*/ 731896 w 731896"/>
              <a:gd name="connsiteY3" fmla="*/ 572947 h 572947"/>
              <a:gd name="connsiteX4" fmla="*/ 0 w 731896"/>
              <a:gd name="connsiteY4" fmla="*/ 572947 h 572947"/>
              <a:gd name="connsiteX5" fmla="*/ 10708 w 731896"/>
              <a:gd name="connsiteY5" fmla="*/ 466721 h 572947"/>
              <a:gd name="connsiteX6" fmla="*/ 583355 w 731896"/>
              <a:gd name="connsiteY6" fmla="*/ 0 h 572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896" h="572947">
                <a:moveTo>
                  <a:pt x="583355" y="0"/>
                </a:moveTo>
                <a:cubicBezTo>
                  <a:pt x="623708" y="0"/>
                  <a:pt x="663106" y="4089"/>
                  <a:pt x="701157" y="11876"/>
                </a:cubicBezTo>
                <a:lnTo>
                  <a:pt x="731896" y="21418"/>
                </a:lnTo>
                <a:lnTo>
                  <a:pt x="731896" y="572947"/>
                </a:lnTo>
                <a:lnTo>
                  <a:pt x="0" y="572947"/>
                </a:lnTo>
                <a:lnTo>
                  <a:pt x="10708" y="466721"/>
                </a:lnTo>
                <a:cubicBezTo>
                  <a:pt x="65213" y="200364"/>
                  <a:pt x="300885" y="0"/>
                  <a:pt x="583355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40521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0" name="î$ḻïḍe">
            <a:extLst>
              <a:ext uri="{FF2B5EF4-FFF2-40B4-BE49-F238E27FC236}">
                <a16:creationId xmlns:a16="http://schemas.microsoft.com/office/drawing/2014/main" id="{0FE3FB8A-0111-403C-8569-F765E186C178}"/>
              </a:ext>
            </a:extLst>
          </p:cNvPr>
          <p:cNvGrpSpPr/>
          <p:nvPr userDrawn="1"/>
        </p:nvGrpSpPr>
        <p:grpSpPr>
          <a:xfrm>
            <a:off x="3235320" y="1399745"/>
            <a:ext cx="5213361" cy="5211118"/>
            <a:chOff x="3486142" y="768375"/>
            <a:chExt cx="5213361" cy="5211118"/>
          </a:xfrm>
        </p:grpSpPr>
        <p:grpSp>
          <p:nvGrpSpPr>
            <p:cNvPr id="141" name="iṡlîḓê">
              <a:extLst>
                <a:ext uri="{FF2B5EF4-FFF2-40B4-BE49-F238E27FC236}">
                  <a16:creationId xmlns:a16="http://schemas.microsoft.com/office/drawing/2014/main" id="{219BF905-89D8-4CE0-8C70-3285DF93CD87}"/>
                </a:ext>
              </a:extLst>
            </p:cNvPr>
            <p:cNvGrpSpPr/>
            <p:nvPr/>
          </p:nvGrpSpPr>
          <p:grpSpPr>
            <a:xfrm rot="10800000" flipH="1">
              <a:off x="7829550" y="2345419"/>
              <a:ext cx="869838" cy="772432"/>
              <a:chOff x="0" y="0"/>
              <a:chExt cx="1739674" cy="1544861"/>
            </a:xfrm>
          </p:grpSpPr>
          <p:sp>
            <p:nvSpPr>
              <p:cNvPr id="189" name="ïŝ1iḋé">
                <a:extLst>
                  <a:ext uri="{FF2B5EF4-FFF2-40B4-BE49-F238E27FC236}">
                    <a16:creationId xmlns:a16="http://schemas.microsoft.com/office/drawing/2014/main" id="{6DADEE87-E6CC-4984-B493-888E51ABEB2E}"/>
                  </a:ext>
                </a:extLst>
              </p:cNvPr>
              <p:cNvSpPr/>
              <p:nvPr/>
            </p:nvSpPr>
            <p:spPr>
              <a:xfrm>
                <a:off x="0" y="0"/>
                <a:ext cx="1739674" cy="15448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9847"/>
                    </a:moveTo>
                    <a:lnTo>
                      <a:pt x="1796" y="20374"/>
                    </a:lnTo>
                    <a:cubicBezTo>
                      <a:pt x="1796" y="20374"/>
                      <a:pt x="3515" y="20662"/>
                      <a:pt x="3610" y="20764"/>
                    </a:cubicBezTo>
                    <a:cubicBezTo>
                      <a:pt x="3704" y="20865"/>
                      <a:pt x="5402" y="20971"/>
                      <a:pt x="5402" y="20971"/>
                    </a:cubicBezTo>
                    <a:cubicBezTo>
                      <a:pt x="5402" y="20971"/>
                      <a:pt x="6612" y="21078"/>
                      <a:pt x="6708" y="21078"/>
                    </a:cubicBezTo>
                    <a:cubicBezTo>
                      <a:pt x="6804" y="21078"/>
                      <a:pt x="8782" y="21219"/>
                      <a:pt x="8782" y="21219"/>
                    </a:cubicBezTo>
                    <a:lnTo>
                      <a:pt x="9857" y="21529"/>
                    </a:lnTo>
                    <a:lnTo>
                      <a:pt x="10574" y="21600"/>
                    </a:lnTo>
                    <a:lnTo>
                      <a:pt x="14169" y="21356"/>
                    </a:lnTo>
                    <a:lnTo>
                      <a:pt x="15332" y="21144"/>
                    </a:lnTo>
                    <a:cubicBezTo>
                      <a:pt x="15332" y="21144"/>
                      <a:pt x="16084" y="20932"/>
                      <a:pt x="16213" y="20932"/>
                    </a:cubicBezTo>
                    <a:cubicBezTo>
                      <a:pt x="16342" y="20932"/>
                      <a:pt x="17466" y="20932"/>
                      <a:pt x="17466" y="20932"/>
                    </a:cubicBezTo>
                    <a:cubicBezTo>
                      <a:pt x="17466" y="20932"/>
                      <a:pt x="18449" y="21034"/>
                      <a:pt x="18578" y="20932"/>
                    </a:cubicBezTo>
                    <a:cubicBezTo>
                      <a:pt x="18707" y="20830"/>
                      <a:pt x="19606" y="20826"/>
                      <a:pt x="19688" y="20724"/>
                    </a:cubicBezTo>
                    <a:cubicBezTo>
                      <a:pt x="19769" y="20622"/>
                      <a:pt x="20916" y="20551"/>
                      <a:pt x="20916" y="20551"/>
                    </a:cubicBezTo>
                    <a:lnTo>
                      <a:pt x="21600" y="20232"/>
                    </a:lnTo>
                    <a:lnTo>
                      <a:pt x="21354" y="18157"/>
                    </a:lnTo>
                    <a:cubicBezTo>
                      <a:pt x="21354" y="18157"/>
                      <a:pt x="21094" y="16985"/>
                      <a:pt x="21000" y="16299"/>
                    </a:cubicBezTo>
                    <a:cubicBezTo>
                      <a:pt x="20906" y="15612"/>
                      <a:pt x="20418" y="14559"/>
                      <a:pt x="20418" y="14559"/>
                    </a:cubicBezTo>
                    <a:lnTo>
                      <a:pt x="19800" y="14134"/>
                    </a:lnTo>
                    <a:lnTo>
                      <a:pt x="19543" y="14343"/>
                    </a:lnTo>
                    <a:lnTo>
                      <a:pt x="19072" y="13930"/>
                    </a:lnTo>
                    <a:lnTo>
                      <a:pt x="18290" y="13718"/>
                    </a:lnTo>
                    <a:lnTo>
                      <a:pt x="17870" y="12700"/>
                    </a:lnTo>
                    <a:lnTo>
                      <a:pt x="17151" y="12382"/>
                    </a:lnTo>
                    <a:lnTo>
                      <a:pt x="16637" y="11408"/>
                    </a:lnTo>
                    <a:lnTo>
                      <a:pt x="15904" y="11514"/>
                    </a:lnTo>
                    <a:lnTo>
                      <a:pt x="15562" y="10328"/>
                    </a:lnTo>
                    <a:lnTo>
                      <a:pt x="15243" y="9841"/>
                    </a:lnTo>
                    <a:lnTo>
                      <a:pt x="14491" y="6253"/>
                    </a:lnTo>
                    <a:lnTo>
                      <a:pt x="14002" y="6358"/>
                    </a:lnTo>
                    <a:lnTo>
                      <a:pt x="13662" y="4823"/>
                    </a:lnTo>
                    <a:lnTo>
                      <a:pt x="12858" y="3840"/>
                    </a:lnTo>
                    <a:lnTo>
                      <a:pt x="12275" y="4752"/>
                    </a:lnTo>
                    <a:lnTo>
                      <a:pt x="11967" y="4858"/>
                    </a:lnTo>
                    <a:lnTo>
                      <a:pt x="11740" y="2385"/>
                    </a:lnTo>
                    <a:lnTo>
                      <a:pt x="10943" y="1960"/>
                    </a:lnTo>
                    <a:lnTo>
                      <a:pt x="10315" y="739"/>
                    </a:lnTo>
                    <a:lnTo>
                      <a:pt x="9612" y="0"/>
                    </a:lnTo>
                    <a:cubicBezTo>
                      <a:pt x="9612" y="0"/>
                      <a:pt x="9090" y="106"/>
                      <a:pt x="9008" y="212"/>
                    </a:cubicBezTo>
                    <a:cubicBezTo>
                      <a:pt x="8926" y="319"/>
                      <a:pt x="8603" y="810"/>
                      <a:pt x="8603" y="810"/>
                    </a:cubicBezTo>
                    <a:lnTo>
                      <a:pt x="7955" y="1124"/>
                    </a:lnTo>
                    <a:lnTo>
                      <a:pt x="6981" y="2362"/>
                    </a:lnTo>
                    <a:lnTo>
                      <a:pt x="6493" y="3876"/>
                    </a:lnTo>
                    <a:lnTo>
                      <a:pt x="5877" y="4398"/>
                    </a:lnTo>
                    <a:lnTo>
                      <a:pt x="5571" y="4154"/>
                    </a:lnTo>
                    <a:lnTo>
                      <a:pt x="5168" y="4469"/>
                    </a:lnTo>
                    <a:lnTo>
                      <a:pt x="4513" y="8919"/>
                    </a:lnTo>
                    <a:lnTo>
                      <a:pt x="4275" y="10220"/>
                    </a:lnTo>
                    <a:lnTo>
                      <a:pt x="3835" y="10605"/>
                    </a:lnTo>
                    <a:lnTo>
                      <a:pt x="3362" y="10181"/>
                    </a:lnTo>
                    <a:lnTo>
                      <a:pt x="3022" y="10181"/>
                    </a:lnTo>
                    <a:lnTo>
                      <a:pt x="2454" y="10464"/>
                    </a:lnTo>
                    <a:lnTo>
                      <a:pt x="2227" y="10955"/>
                    </a:lnTo>
                    <a:lnTo>
                      <a:pt x="1932" y="11729"/>
                    </a:lnTo>
                    <a:lnTo>
                      <a:pt x="1592" y="12637"/>
                    </a:lnTo>
                    <a:lnTo>
                      <a:pt x="73" y="18463"/>
                    </a:lnTo>
                    <a:lnTo>
                      <a:pt x="0" y="19847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90" name="isḷiďe">
                <a:extLst>
                  <a:ext uri="{FF2B5EF4-FFF2-40B4-BE49-F238E27FC236}">
                    <a16:creationId xmlns:a16="http://schemas.microsoft.com/office/drawing/2014/main" id="{687B8A5A-BBF6-4316-818D-EAC4FF29A5B4}"/>
                  </a:ext>
                </a:extLst>
              </p:cNvPr>
              <p:cNvSpPr/>
              <p:nvPr/>
            </p:nvSpPr>
            <p:spPr>
              <a:xfrm>
                <a:off x="1217" y="350977"/>
                <a:ext cx="803717" cy="11502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277" y="21600"/>
                    </a:moveTo>
                    <a:cubicBezTo>
                      <a:pt x="21277" y="21600"/>
                      <a:pt x="5549" y="20459"/>
                      <a:pt x="3142" y="19936"/>
                    </a:cubicBezTo>
                    <a:cubicBezTo>
                      <a:pt x="736" y="19414"/>
                      <a:pt x="0" y="19271"/>
                      <a:pt x="0" y="19271"/>
                    </a:cubicBezTo>
                    <a:cubicBezTo>
                      <a:pt x="0" y="19271"/>
                      <a:pt x="1364" y="18113"/>
                      <a:pt x="1875" y="17839"/>
                    </a:cubicBezTo>
                    <a:cubicBezTo>
                      <a:pt x="2385" y="17566"/>
                      <a:pt x="3763" y="15813"/>
                      <a:pt x="3763" y="15813"/>
                    </a:cubicBezTo>
                    <a:lnTo>
                      <a:pt x="4606" y="13727"/>
                    </a:lnTo>
                    <a:lnTo>
                      <a:pt x="3941" y="13067"/>
                    </a:lnTo>
                    <a:cubicBezTo>
                      <a:pt x="3941" y="13067"/>
                      <a:pt x="2385" y="15349"/>
                      <a:pt x="2177" y="15628"/>
                    </a:cubicBezTo>
                    <a:cubicBezTo>
                      <a:pt x="1968" y="15907"/>
                      <a:pt x="763" y="17185"/>
                      <a:pt x="763" y="17185"/>
                    </a:cubicBezTo>
                    <a:lnTo>
                      <a:pt x="3099" y="12729"/>
                    </a:lnTo>
                    <a:cubicBezTo>
                      <a:pt x="3099" y="12729"/>
                      <a:pt x="3692" y="11345"/>
                      <a:pt x="3799" y="11065"/>
                    </a:cubicBezTo>
                    <a:cubicBezTo>
                      <a:pt x="3905" y="10786"/>
                      <a:pt x="4535" y="9598"/>
                      <a:pt x="4535" y="9598"/>
                    </a:cubicBezTo>
                    <a:lnTo>
                      <a:pt x="5019" y="10014"/>
                    </a:lnTo>
                    <a:lnTo>
                      <a:pt x="5444" y="8927"/>
                    </a:lnTo>
                    <a:lnTo>
                      <a:pt x="6073" y="9444"/>
                    </a:lnTo>
                    <a:lnTo>
                      <a:pt x="6486" y="8641"/>
                    </a:lnTo>
                    <a:lnTo>
                      <a:pt x="6805" y="9866"/>
                    </a:lnTo>
                    <a:cubicBezTo>
                      <a:pt x="6805" y="9866"/>
                      <a:pt x="5710" y="11559"/>
                      <a:pt x="5604" y="11934"/>
                    </a:cubicBezTo>
                    <a:cubicBezTo>
                      <a:pt x="5498" y="12309"/>
                      <a:pt x="5710" y="13575"/>
                      <a:pt x="5710" y="13575"/>
                    </a:cubicBezTo>
                    <a:lnTo>
                      <a:pt x="6588" y="13480"/>
                    </a:lnTo>
                    <a:lnTo>
                      <a:pt x="6783" y="11310"/>
                    </a:lnTo>
                    <a:lnTo>
                      <a:pt x="7762" y="11168"/>
                    </a:lnTo>
                    <a:lnTo>
                      <a:pt x="8676" y="11917"/>
                    </a:lnTo>
                    <a:lnTo>
                      <a:pt x="9101" y="10556"/>
                    </a:lnTo>
                    <a:lnTo>
                      <a:pt x="9341" y="9449"/>
                    </a:lnTo>
                    <a:cubicBezTo>
                      <a:pt x="9341" y="9449"/>
                      <a:pt x="10502" y="9883"/>
                      <a:pt x="10502" y="10156"/>
                    </a:cubicBezTo>
                    <a:cubicBezTo>
                      <a:pt x="10502" y="10430"/>
                      <a:pt x="9119" y="12290"/>
                      <a:pt x="8942" y="12664"/>
                    </a:cubicBezTo>
                    <a:cubicBezTo>
                      <a:pt x="8765" y="13039"/>
                      <a:pt x="8340" y="13752"/>
                      <a:pt x="8340" y="14311"/>
                    </a:cubicBezTo>
                    <a:cubicBezTo>
                      <a:pt x="8340" y="14869"/>
                      <a:pt x="8690" y="15154"/>
                      <a:pt x="8690" y="15154"/>
                    </a:cubicBezTo>
                    <a:lnTo>
                      <a:pt x="9962" y="12706"/>
                    </a:lnTo>
                    <a:lnTo>
                      <a:pt x="10871" y="11951"/>
                    </a:lnTo>
                    <a:cubicBezTo>
                      <a:pt x="10871" y="11951"/>
                      <a:pt x="11261" y="11655"/>
                      <a:pt x="11363" y="11381"/>
                    </a:cubicBezTo>
                    <a:cubicBezTo>
                      <a:pt x="11465" y="11107"/>
                      <a:pt x="12383" y="10067"/>
                      <a:pt x="12383" y="10067"/>
                    </a:cubicBezTo>
                    <a:lnTo>
                      <a:pt x="13513" y="7951"/>
                    </a:lnTo>
                    <a:cubicBezTo>
                      <a:pt x="13513" y="7951"/>
                      <a:pt x="13895" y="7143"/>
                      <a:pt x="13615" y="7143"/>
                    </a:cubicBezTo>
                    <a:cubicBezTo>
                      <a:pt x="13335" y="7143"/>
                      <a:pt x="11780" y="7001"/>
                      <a:pt x="11780" y="7001"/>
                    </a:cubicBezTo>
                    <a:lnTo>
                      <a:pt x="9905" y="6858"/>
                    </a:lnTo>
                    <a:cubicBezTo>
                      <a:pt x="9905" y="6858"/>
                      <a:pt x="10579" y="1214"/>
                      <a:pt x="11177" y="607"/>
                    </a:cubicBezTo>
                    <a:cubicBezTo>
                      <a:pt x="11776" y="0"/>
                      <a:pt x="12051" y="0"/>
                      <a:pt x="12051" y="0"/>
                    </a:cubicBezTo>
                    <a:lnTo>
                      <a:pt x="11838" y="1213"/>
                    </a:lnTo>
                    <a:lnTo>
                      <a:pt x="12259" y="1629"/>
                    </a:lnTo>
                    <a:lnTo>
                      <a:pt x="12751" y="1107"/>
                    </a:lnTo>
                    <a:lnTo>
                      <a:pt x="13177" y="114"/>
                    </a:lnTo>
                    <a:lnTo>
                      <a:pt x="13696" y="399"/>
                    </a:lnTo>
                    <a:lnTo>
                      <a:pt x="14507" y="263"/>
                    </a:lnTo>
                    <a:lnTo>
                      <a:pt x="13881" y="1565"/>
                    </a:lnTo>
                    <a:lnTo>
                      <a:pt x="14369" y="1939"/>
                    </a:lnTo>
                    <a:lnTo>
                      <a:pt x="14157" y="3027"/>
                    </a:lnTo>
                    <a:lnTo>
                      <a:pt x="13452" y="3918"/>
                    </a:lnTo>
                    <a:lnTo>
                      <a:pt x="13554" y="5054"/>
                    </a:lnTo>
                    <a:lnTo>
                      <a:pt x="14073" y="4769"/>
                    </a:lnTo>
                    <a:lnTo>
                      <a:pt x="14774" y="3206"/>
                    </a:lnTo>
                    <a:lnTo>
                      <a:pt x="15053" y="4383"/>
                    </a:lnTo>
                    <a:lnTo>
                      <a:pt x="14521" y="6510"/>
                    </a:lnTo>
                    <a:lnTo>
                      <a:pt x="13435" y="9482"/>
                    </a:lnTo>
                    <a:lnTo>
                      <a:pt x="13151" y="11122"/>
                    </a:lnTo>
                    <a:lnTo>
                      <a:pt x="13045" y="12875"/>
                    </a:lnTo>
                    <a:lnTo>
                      <a:pt x="14774" y="11788"/>
                    </a:lnTo>
                    <a:lnTo>
                      <a:pt x="14774" y="10659"/>
                    </a:lnTo>
                    <a:lnTo>
                      <a:pt x="15341" y="8995"/>
                    </a:lnTo>
                    <a:lnTo>
                      <a:pt x="16041" y="8097"/>
                    </a:lnTo>
                    <a:lnTo>
                      <a:pt x="16321" y="7105"/>
                    </a:lnTo>
                    <a:lnTo>
                      <a:pt x="17451" y="5839"/>
                    </a:lnTo>
                    <a:lnTo>
                      <a:pt x="18404" y="6831"/>
                    </a:lnTo>
                    <a:cubicBezTo>
                      <a:pt x="18404" y="6831"/>
                      <a:pt x="18931" y="8447"/>
                      <a:pt x="18829" y="8864"/>
                    </a:cubicBezTo>
                    <a:cubicBezTo>
                      <a:pt x="18727" y="9280"/>
                      <a:pt x="18231" y="10314"/>
                      <a:pt x="18231" y="10314"/>
                    </a:cubicBezTo>
                    <a:cubicBezTo>
                      <a:pt x="18231" y="10314"/>
                      <a:pt x="18443" y="11544"/>
                      <a:pt x="18443" y="11824"/>
                    </a:cubicBezTo>
                    <a:cubicBezTo>
                      <a:pt x="18443" y="12103"/>
                      <a:pt x="18337" y="13417"/>
                      <a:pt x="18337" y="13417"/>
                    </a:cubicBezTo>
                    <a:lnTo>
                      <a:pt x="18762" y="14451"/>
                    </a:lnTo>
                    <a:lnTo>
                      <a:pt x="19081" y="15824"/>
                    </a:lnTo>
                    <a:lnTo>
                      <a:pt x="19959" y="15729"/>
                    </a:lnTo>
                    <a:lnTo>
                      <a:pt x="19959" y="14505"/>
                    </a:lnTo>
                    <a:cubicBezTo>
                      <a:pt x="19959" y="14505"/>
                      <a:pt x="19006" y="13216"/>
                      <a:pt x="19006" y="12942"/>
                    </a:cubicBezTo>
                    <a:cubicBezTo>
                      <a:pt x="19006" y="12668"/>
                      <a:pt x="19499" y="12383"/>
                      <a:pt x="19499" y="12383"/>
                    </a:cubicBezTo>
                    <a:cubicBezTo>
                      <a:pt x="19499" y="12383"/>
                      <a:pt x="20261" y="11592"/>
                      <a:pt x="19880" y="11497"/>
                    </a:cubicBezTo>
                    <a:cubicBezTo>
                      <a:pt x="19499" y="11402"/>
                      <a:pt x="18789" y="10868"/>
                      <a:pt x="18789" y="10594"/>
                    </a:cubicBezTo>
                    <a:cubicBezTo>
                      <a:pt x="18789" y="10320"/>
                      <a:pt x="19742" y="9755"/>
                      <a:pt x="19742" y="9755"/>
                    </a:cubicBezTo>
                    <a:lnTo>
                      <a:pt x="20682" y="10320"/>
                    </a:lnTo>
                    <a:lnTo>
                      <a:pt x="21139" y="9666"/>
                    </a:lnTo>
                    <a:lnTo>
                      <a:pt x="21210" y="13558"/>
                    </a:lnTo>
                    <a:cubicBezTo>
                      <a:pt x="21210" y="13558"/>
                      <a:pt x="21600" y="16219"/>
                      <a:pt x="21600" y="16499"/>
                    </a:cubicBezTo>
                    <a:cubicBezTo>
                      <a:pt x="21600" y="16778"/>
                      <a:pt x="21600" y="20385"/>
                      <a:pt x="21600" y="20385"/>
                    </a:cubicBezTo>
                    <a:lnTo>
                      <a:pt x="21277" y="21600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91" name="îṣlïḑé">
                <a:extLst>
                  <a:ext uri="{FF2B5EF4-FFF2-40B4-BE49-F238E27FC236}">
                    <a16:creationId xmlns:a16="http://schemas.microsoft.com/office/drawing/2014/main" id="{D1A13856-8AFB-430A-8B85-FE7358B1F3A3}"/>
                  </a:ext>
                </a:extLst>
              </p:cNvPr>
              <p:cNvSpPr/>
              <p:nvPr/>
            </p:nvSpPr>
            <p:spPr>
              <a:xfrm>
                <a:off x="781456" y="140692"/>
                <a:ext cx="96982" cy="5433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14" y="0"/>
                    </a:moveTo>
                    <a:lnTo>
                      <a:pt x="12196" y="5397"/>
                    </a:lnTo>
                    <a:lnTo>
                      <a:pt x="16312" y="8504"/>
                    </a:lnTo>
                    <a:lnTo>
                      <a:pt x="21600" y="12014"/>
                    </a:lnTo>
                    <a:lnTo>
                      <a:pt x="21600" y="16014"/>
                    </a:lnTo>
                    <a:lnTo>
                      <a:pt x="16312" y="19523"/>
                    </a:lnTo>
                    <a:lnTo>
                      <a:pt x="11645" y="21600"/>
                    </a:lnTo>
                    <a:lnTo>
                      <a:pt x="9037" y="19813"/>
                    </a:lnTo>
                    <a:lnTo>
                      <a:pt x="14289" y="16002"/>
                    </a:lnTo>
                    <a:cubicBezTo>
                      <a:pt x="14289" y="16002"/>
                      <a:pt x="15171" y="13977"/>
                      <a:pt x="15171" y="13386"/>
                    </a:cubicBezTo>
                    <a:cubicBezTo>
                      <a:pt x="15171" y="12795"/>
                      <a:pt x="12563" y="11586"/>
                      <a:pt x="12563" y="10995"/>
                    </a:cubicBezTo>
                    <a:cubicBezTo>
                      <a:pt x="12563" y="10404"/>
                      <a:pt x="4958" y="10493"/>
                      <a:pt x="4958" y="8291"/>
                    </a:cubicBezTo>
                    <a:cubicBezTo>
                      <a:pt x="4958" y="6090"/>
                      <a:pt x="4079" y="4693"/>
                      <a:pt x="4079" y="4693"/>
                    </a:cubicBezTo>
                    <a:lnTo>
                      <a:pt x="0" y="1611"/>
                    </a:lnTo>
                    <a:lnTo>
                      <a:pt x="2314" y="0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92" name="îsļiḓe">
                <a:extLst>
                  <a:ext uri="{FF2B5EF4-FFF2-40B4-BE49-F238E27FC236}">
                    <a16:creationId xmlns:a16="http://schemas.microsoft.com/office/drawing/2014/main" id="{D9FD512F-0215-458E-A7C2-0803B2A7BD05}"/>
                  </a:ext>
                </a:extLst>
              </p:cNvPr>
              <p:cNvSpPr/>
              <p:nvPr/>
            </p:nvSpPr>
            <p:spPr>
              <a:xfrm>
                <a:off x="765309" y="441612"/>
                <a:ext cx="52447" cy="2496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28" y="655"/>
                    </a:moveTo>
                    <a:lnTo>
                      <a:pt x="21600" y="0"/>
                    </a:lnTo>
                    <a:lnTo>
                      <a:pt x="21600" y="6954"/>
                    </a:lnTo>
                    <a:lnTo>
                      <a:pt x="13997" y="21600"/>
                    </a:lnTo>
                    <a:lnTo>
                      <a:pt x="0" y="17851"/>
                    </a:lnTo>
                    <a:lnTo>
                      <a:pt x="1626" y="2821"/>
                    </a:lnTo>
                    <a:lnTo>
                      <a:pt x="5366" y="13251"/>
                    </a:lnTo>
                    <a:lnTo>
                      <a:pt x="11210" y="7225"/>
                    </a:lnTo>
                    <a:lnTo>
                      <a:pt x="10928" y="655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93" name="ïšḷiďê">
                <a:extLst>
                  <a:ext uri="{FF2B5EF4-FFF2-40B4-BE49-F238E27FC236}">
                    <a16:creationId xmlns:a16="http://schemas.microsoft.com/office/drawing/2014/main" id="{9EA78218-60E3-4D8D-8556-A7DAEC3AB414}"/>
                  </a:ext>
                </a:extLst>
              </p:cNvPr>
              <p:cNvSpPr/>
              <p:nvPr/>
            </p:nvSpPr>
            <p:spPr>
              <a:xfrm>
                <a:off x="660523" y="79871"/>
                <a:ext cx="61513" cy="3490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278" y="0"/>
                    </a:moveTo>
                    <a:lnTo>
                      <a:pt x="13893" y="7460"/>
                    </a:lnTo>
                    <a:lnTo>
                      <a:pt x="12501" y="12279"/>
                    </a:lnTo>
                    <a:lnTo>
                      <a:pt x="20266" y="14434"/>
                    </a:lnTo>
                    <a:lnTo>
                      <a:pt x="21600" y="21600"/>
                    </a:lnTo>
                    <a:lnTo>
                      <a:pt x="11412" y="17565"/>
                    </a:lnTo>
                    <a:lnTo>
                      <a:pt x="3075" y="12260"/>
                    </a:lnTo>
                    <a:lnTo>
                      <a:pt x="7243" y="7737"/>
                    </a:lnTo>
                    <a:lnTo>
                      <a:pt x="0" y="4974"/>
                    </a:lnTo>
                    <a:lnTo>
                      <a:pt x="4278" y="0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94" name="í$ḷiḍè">
                <a:extLst>
                  <a:ext uri="{FF2B5EF4-FFF2-40B4-BE49-F238E27FC236}">
                    <a16:creationId xmlns:a16="http://schemas.microsoft.com/office/drawing/2014/main" id="{4905039E-47CD-4504-8E5C-0C9028399F22}"/>
                  </a:ext>
                </a:extLst>
              </p:cNvPr>
              <p:cNvSpPr/>
              <p:nvPr/>
            </p:nvSpPr>
            <p:spPr>
              <a:xfrm>
                <a:off x="546906" y="157920"/>
                <a:ext cx="186260" cy="4924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986" y="4859"/>
                    </a:moveTo>
                    <a:lnTo>
                      <a:pt x="6884" y="0"/>
                    </a:lnTo>
                    <a:lnTo>
                      <a:pt x="9754" y="5387"/>
                    </a:lnTo>
                    <a:lnTo>
                      <a:pt x="9295" y="10037"/>
                    </a:lnTo>
                    <a:lnTo>
                      <a:pt x="11895" y="12022"/>
                    </a:lnTo>
                    <a:lnTo>
                      <a:pt x="14136" y="8150"/>
                    </a:lnTo>
                    <a:lnTo>
                      <a:pt x="16394" y="11217"/>
                    </a:lnTo>
                    <a:lnTo>
                      <a:pt x="16394" y="14522"/>
                    </a:lnTo>
                    <a:lnTo>
                      <a:pt x="19361" y="14842"/>
                    </a:lnTo>
                    <a:lnTo>
                      <a:pt x="21600" y="14189"/>
                    </a:lnTo>
                    <a:lnTo>
                      <a:pt x="21600" y="18922"/>
                    </a:lnTo>
                    <a:lnTo>
                      <a:pt x="20666" y="21600"/>
                    </a:lnTo>
                    <a:lnTo>
                      <a:pt x="16571" y="19713"/>
                    </a:lnTo>
                    <a:lnTo>
                      <a:pt x="12764" y="15104"/>
                    </a:lnTo>
                    <a:lnTo>
                      <a:pt x="9032" y="12590"/>
                    </a:lnTo>
                    <a:lnTo>
                      <a:pt x="5856" y="8659"/>
                    </a:lnTo>
                    <a:lnTo>
                      <a:pt x="900" y="7451"/>
                    </a:lnTo>
                    <a:lnTo>
                      <a:pt x="0" y="3691"/>
                    </a:lnTo>
                    <a:lnTo>
                      <a:pt x="2564" y="1065"/>
                    </a:lnTo>
                    <a:lnTo>
                      <a:pt x="5986" y="4859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95" name="iSľîḑê">
                <a:extLst>
                  <a:ext uri="{FF2B5EF4-FFF2-40B4-BE49-F238E27FC236}">
                    <a16:creationId xmlns:a16="http://schemas.microsoft.com/office/drawing/2014/main" id="{92D33139-B22D-4D67-B76D-8ED66514C4D7}"/>
                  </a:ext>
                </a:extLst>
              </p:cNvPr>
              <p:cNvSpPr/>
              <p:nvPr/>
            </p:nvSpPr>
            <p:spPr>
              <a:xfrm>
                <a:off x="559787" y="402117"/>
                <a:ext cx="86119" cy="30889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211" y="2479"/>
                    </a:lnTo>
                    <a:lnTo>
                      <a:pt x="17707" y="8610"/>
                    </a:lnTo>
                    <a:lnTo>
                      <a:pt x="21600" y="13835"/>
                    </a:lnTo>
                    <a:lnTo>
                      <a:pt x="15023" y="16821"/>
                    </a:lnTo>
                    <a:lnTo>
                      <a:pt x="7452" y="21600"/>
                    </a:lnTo>
                    <a:lnTo>
                      <a:pt x="7452" y="15979"/>
                    </a:lnTo>
                    <a:lnTo>
                      <a:pt x="11673" y="13231"/>
                    </a:lnTo>
                    <a:lnTo>
                      <a:pt x="10020" y="6302"/>
                    </a:lnTo>
                    <a:lnTo>
                      <a:pt x="2278" y="38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96" name="ïs1ïdê">
                <a:extLst>
                  <a:ext uri="{FF2B5EF4-FFF2-40B4-BE49-F238E27FC236}">
                    <a16:creationId xmlns:a16="http://schemas.microsoft.com/office/drawing/2014/main" id="{37ADA0C7-655B-4780-9DEE-26330DFCF3BD}"/>
                  </a:ext>
                </a:extLst>
              </p:cNvPr>
              <p:cNvSpPr/>
              <p:nvPr/>
            </p:nvSpPr>
            <p:spPr>
              <a:xfrm>
                <a:off x="988981" y="300064"/>
                <a:ext cx="64155" cy="2724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24" y="0"/>
                    </a:moveTo>
                    <a:lnTo>
                      <a:pt x="21600" y="9985"/>
                    </a:lnTo>
                    <a:lnTo>
                      <a:pt x="17603" y="21600"/>
                    </a:lnTo>
                    <a:lnTo>
                      <a:pt x="12277" y="12121"/>
                    </a:lnTo>
                    <a:lnTo>
                      <a:pt x="6056" y="20124"/>
                    </a:lnTo>
                    <a:lnTo>
                      <a:pt x="2168" y="16986"/>
                    </a:lnTo>
                    <a:lnTo>
                      <a:pt x="0" y="5371"/>
                    </a:lnTo>
                    <a:lnTo>
                      <a:pt x="7780" y="7554"/>
                    </a:lnTo>
                    <a:lnTo>
                      <a:pt x="16324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97" name="íṥļiḍè">
                <a:extLst>
                  <a:ext uri="{FF2B5EF4-FFF2-40B4-BE49-F238E27FC236}">
                    <a16:creationId xmlns:a16="http://schemas.microsoft.com/office/drawing/2014/main" id="{3286047D-3AA1-4695-8AAE-1F07C12BCDF4}"/>
                  </a:ext>
                </a:extLst>
              </p:cNvPr>
              <p:cNvSpPr/>
              <p:nvPr/>
            </p:nvSpPr>
            <p:spPr>
              <a:xfrm>
                <a:off x="990391" y="684501"/>
                <a:ext cx="34949" cy="1012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7589" h="21600" extrusionOk="0">
                    <a:moveTo>
                      <a:pt x="5796" y="0"/>
                    </a:moveTo>
                    <a:cubicBezTo>
                      <a:pt x="5796" y="0"/>
                      <a:pt x="-4011" y="16745"/>
                      <a:pt x="1889" y="18362"/>
                    </a:cubicBezTo>
                    <a:cubicBezTo>
                      <a:pt x="7790" y="19978"/>
                      <a:pt x="13683" y="21600"/>
                      <a:pt x="13683" y="21600"/>
                    </a:cubicBezTo>
                    <a:lnTo>
                      <a:pt x="17589" y="10931"/>
                    </a:lnTo>
                    <a:lnTo>
                      <a:pt x="5796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98" name="ïŝḻïḋè">
                <a:extLst>
                  <a:ext uri="{FF2B5EF4-FFF2-40B4-BE49-F238E27FC236}">
                    <a16:creationId xmlns:a16="http://schemas.microsoft.com/office/drawing/2014/main" id="{F70CB91C-5425-4B71-BA02-2EE8CF441DDE}"/>
                  </a:ext>
                </a:extLst>
              </p:cNvPr>
              <p:cNvSpPr/>
              <p:nvPr/>
            </p:nvSpPr>
            <p:spPr>
              <a:xfrm>
                <a:off x="1131550" y="472080"/>
                <a:ext cx="75241" cy="2212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829"/>
                    </a:moveTo>
                    <a:lnTo>
                      <a:pt x="21600" y="21600"/>
                    </a:lnTo>
                    <a:lnTo>
                      <a:pt x="8346" y="0"/>
                    </a:lnTo>
                    <a:lnTo>
                      <a:pt x="0" y="1829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99" name="ïSlïḑé">
                <a:extLst>
                  <a:ext uri="{FF2B5EF4-FFF2-40B4-BE49-F238E27FC236}">
                    <a16:creationId xmlns:a16="http://schemas.microsoft.com/office/drawing/2014/main" id="{7D7C0A24-B82E-4531-8E45-7C8B583E2358}"/>
                  </a:ext>
                </a:extLst>
              </p:cNvPr>
              <p:cNvSpPr/>
              <p:nvPr/>
            </p:nvSpPr>
            <p:spPr>
              <a:xfrm>
                <a:off x="1448507" y="1057375"/>
                <a:ext cx="146326" cy="36234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013" y="3264"/>
                    </a:moveTo>
                    <a:lnTo>
                      <a:pt x="6013" y="0"/>
                    </a:lnTo>
                    <a:lnTo>
                      <a:pt x="0" y="0"/>
                    </a:lnTo>
                    <a:lnTo>
                      <a:pt x="0" y="7810"/>
                    </a:lnTo>
                    <a:lnTo>
                      <a:pt x="1168" y="13809"/>
                    </a:lnTo>
                    <a:lnTo>
                      <a:pt x="7525" y="18636"/>
                    </a:lnTo>
                    <a:lnTo>
                      <a:pt x="11302" y="21600"/>
                    </a:lnTo>
                    <a:lnTo>
                      <a:pt x="18336" y="20561"/>
                    </a:lnTo>
                    <a:lnTo>
                      <a:pt x="21015" y="18034"/>
                    </a:lnTo>
                    <a:lnTo>
                      <a:pt x="21600" y="12789"/>
                    </a:lnTo>
                    <a:lnTo>
                      <a:pt x="20042" y="7525"/>
                    </a:lnTo>
                    <a:lnTo>
                      <a:pt x="18312" y="14961"/>
                    </a:lnTo>
                    <a:lnTo>
                      <a:pt x="16754" y="17604"/>
                    </a:lnTo>
                    <a:lnTo>
                      <a:pt x="15587" y="10531"/>
                    </a:lnTo>
                    <a:lnTo>
                      <a:pt x="12734" y="7550"/>
                    </a:lnTo>
                    <a:lnTo>
                      <a:pt x="8086" y="11605"/>
                    </a:lnTo>
                    <a:lnTo>
                      <a:pt x="5967" y="9983"/>
                    </a:lnTo>
                    <a:lnTo>
                      <a:pt x="11543" y="3868"/>
                    </a:lnTo>
                    <a:lnTo>
                      <a:pt x="8498" y="1944"/>
                    </a:lnTo>
                    <a:lnTo>
                      <a:pt x="6013" y="3264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200" name="íṣlïḑè">
                <a:extLst>
                  <a:ext uri="{FF2B5EF4-FFF2-40B4-BE49-F238E27FC236}">
                    <a16:creationId xmlns:a16="http://schemas.microsoft.com/office/drawing/2014/main" id="{109F0A73-9B36-4CCD-95E2-45948BD6C480}"/>
                  </a:ext>
                </a:extLst>
              </p:cNvPr>
              <p:cNvSpPr/>
              <p:nvPr/>
            </p:nvSpPr>
            <p:spPr>
              <a:xfrm>
                <a:off x="1571934" y="1064864"/>
                <a:ext cx="79514" cy="3288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780" y="7588"/>
                    </a:lnTo>
                    <a:lnTo>
                      <a:pt x="12856" y="15861"/>
                    </a:lnTo>
                    <a:lnTo>
                      <a:pt x="13888" y="21102"/>
                    </a:lnTo>
                    <a:lnTo>
                      <a:pt x="20524" y="21600"/>
                    </a:lnTo>
                    <a:cubicBezTo>
                      <a:pt x="20524" y="21600"/>
                      <a:pt x="21600" y="15450"/>
                      <a:pt x="21600" y="13993"/>
                    </a:cubicBezTo>
                    <a:cubicBezTo>
                      <a:pt x="21600" y="12536"/>
                      <a:pt x="21600" y="6404"/>
                      <a:pt x="21600" y="6404"/>
                    </a:cubicBezTo>
                    <a:lnTo>
                      <a:pt x="15150" y="3432"/>
                    </a:lnTo>
                    <a:lnTo>
                      <a:pt x="8829" y="24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201" name="íSľîḍé">
                <a:extLst>
                  <a:ext uri="{FF2B5EF4-FFF2-40B4-BE49-F238E27FC236}">
                    <a16:creationId xmlns:a16="http://schemas.microsoft.com/office/drawing/2014/main" id="{681E1B2D-E135-4952-BD6E-AC7945B73D2F}"/>
                  </a:ext>
                </a:extLst>
              </p:cNvPr>
              <p:cNvSpPr/>
              <p:nvPr/>
            </p:nvSpPr>
            <p:spPr>
              <a:xfrm>
                <a:off x="1070024" y="353939"/>
                <a:ext cx="51348" cy="30442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994" y="0"/>
                    </a:moveTo>
                    <a:lnTo>
                      <a:pt x="0" y="15424"/>
                    </a:lnTo>
                    <a:lnTo>
                      <a:pt x="10769" y="16501"/>
                    </a:lnTo>
                    <a:lnTo>
                      <a:pt x="10144" y="21600"/>
                    </a:lnTo>
                    <a:lnTo>
                      <a:pt x="21600" y="20523"/>
                    </a:lnTo>
                    <a:lnTo>
                      <a:pt x="10925" y="9411"/>
                    </a:lnTo>
                    <a:lnTo>
                      <a:pt x="4994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</p:grpSp>
        <p:grpSp>
          <p:nvGrpSpPr>
            <p:cNvPr id="142" name="işļïďé">
              <a:extLst>
                <a:ext uri="{FF2B5EF4-FFF2-40B4-BE49-F238E27FC236}">
                  <a16:creationId xmlns:a16="http://schemas.microsoft.com/office/drawing/2014/main" id="{2AC419C3-79F0-4EE0-815B-E1F65339A969}"/>
                </a:ext>
              </a:extLst>
            </p:cNvPr>
            <p:cNvGrpSpPr/>
            <p:nvPr/>
          </p:nvGrpSpPr>
          <p:grpSpPr>
            <a:xfrm>
              <a:off x="4107518" y="1896440"/>
              <a:ext cx="3556001" cy="4083053"/>
              <a:chOff x="0" y="-1"/>
              <a:chExt cx="7112000" cy="8166105"/>
            </a:xfrm>
          </p:grpSpPr>
          <p:sp>
            <p:nvSpPr>
              <p:cNvPr id="176" name="ïšḷïḑè">
                <a:extLst>
                  <a:ext uri="{FF2B5EF4-FFF2-40B4-BE49-F238E27FC236}">
                    <a16:creationId xmlns:a16="http://schemas.microsoft.com/office/drawing/2014/main" id="{6E787106-1E99-4DEA-82CA-BB4127D430F9}"/>
                  </a:ext>
                </a:extLst>
              </p:cNvPr>
              <p:cNvSpPr/>
              <p:nvPr/>
            </p:nvSpPr>
            <p:spPr>
              <a:xfrm rot="10800000" flipH="1">
                <a:off x="0" y="-1"/>
                <a:ext cx="7112000" cy="816610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505" extrusionOk="0">
                    <a:moveTo>
                      <a:pt x="0" y="19744"/>
                    </a:moveTo>
                    <a:lnTo>
                      <a:pt x="1796" y="20273"/>
                    </a:lnTo>
                    <a:cubicBezTo>
                      <a:pt x="1796" y="20273"/>
                      <a:pt x="3515" y="20562"/>
                      <a:pt x="3610" y="20664"/>
                    </a:cubicBezTo>
                    <a:cubicBezTo>
                      <a:pt x="3704" y="20767"/>
                      <a:pt x="5402" y="20873"/>
                      <a:pt x="5402" y="20873"/>
                    </a:cubicBezTo>
                    <a:cubicBezTo>
                      <a:pt x="5402" y="20873"/>
                      <a:pt x="6612" y="20980"/>
                      <a:pt x="6708" y="20980"/>
                    </a:cubicBezTo>
                    <a:cubicBezTo>
                      <a:pt x="6804" y="20980"/>
                      <a:pt x="8782" y="21122"/>
                      <a:pt x="8782" y="21122"/>
                    </a:cubicBezTo>
                    <a:lnTo>
                      <a:pt x="9857" y="21434"/>
                    </a:lnTo>
                    <a:lnTo>
                      <a:pt x="10574" y="21505"/>
                    </a:lnTo>
                    <a:lnTo>
                      <a:pt x="14169" y="21260"/>
                    </a:lnTo>
                    <a:lnTo>
                      <a:pt x="15332" y="21047"/>
                    </a:lnTo>
                    <a:cubicBezTo>
                      <a:pt x="15332" y="21047"/>
                      <a:pt x="16084" y="20834"/>
                      <a:pt x="16213" y="20834"/>
                    </a:cubicBezTo>
                    <a:cubicBezTo>
                      <a:pt x="16342" y="20834"/>
                      <a:pt x="17466" y="20834"/>
                      <a:pt x="17466" y="20834"/>
                    </a:cubicBezTo>
                    <a:cubicBezTo>
                      <a:pt x="17466" y="20834"/>
                      <a:pt x="18449" y="20936"/>
                      <a:pt x="18578" y="20834"/>
                    </a:cubicBezTo>
                    <a:cubicBezTo>
                      <a:pt x="18707" y="20731"/>
                      <a:pt x="19606" y="20727"/>
                      <a:pt x="19688" y="20624"/>
                    </a:cubicBezTo>
                    <a:cubicBezTo>
                      <a:pt x="19769" y="20522"/>
                      <a:pt x="20916" y="20451"/>
                      <a:pt x="20916" y="20451"/>
                    </a:cubicBezTo>
                    <a:lnTo>
                      <a:pt x="21600" y="20131"/>
                    </a:lnTo>
                    <a:lnTo>
                      <a:pt x="21354" y="18045"/>
                    </a:lnTo>
                    <a:cubicBezTo>
                      <a:pt x="21354" y="18045"/>
                      <a:pt x="21434" y="16726"/>
                      <a:pt x="21340" y="16036"/>
                    </a:cubicBezTo>
                    <a:cubicBezTo>
                      <a:pt x="21246" y="15347"/>
                      <a:pt x="21340" y="14858"/>
                      <a:pt x="21340" y="14858"/>
                    </a:cubicBezTo>
                    <a:lnTo>
                      <a:pt x="20909" y="13807"/>
                    </a:lnTo>
                    <a:lnTo>
                      <a:pt x="20392" y="13470"/>
                    </a:lnTo>
                    <a:lnTo>
                      <a:pt x="19789" y="12545"/>
                    </a:lnTo>
                    <a:lnTo>
                      <a:pt x="19301" y="12515"/>
                    </a:lnTo>
                    <a:lnTo>
                      <a:pt x="18812" y="11157"/>
                    </a:lnTo>
                    <a:lnTo>
                      <a:pt x="18554" y="10063"/>
                    </a:lnTo>
                    <a:lnTo>
                      <a:pt x="17865" y="8927"/>
                    </a:lnTo>
                    <a:lnTo>
                      <a:pt x="17146" y="8464"/>
                    </a:lnTo>
                    <a:lnTo>
                      <a:pt x="16629" y="7160"/>
                    </a:lnTo>
                    <a:lnTo>
                      <a:pt x="15883" y="6193"/>
                    </a:lnTo>
                    <a:lnTo>
                      <a:pt x="15538" y="4931"/>
                    </a:lnTo>
                    <a:lnTo>
                      <a:pt x="14002" y="6188"/>
                    </a:lnTo>
                    <a:lnTo>
                      <a:pt x="13662" y="4645"/>
                    </a:lnTo>
                    <a:lnTo>
                      <a:pt x="12858" y="3658"/>
                    </a:lnTo>
                    <a:lnTo>
                      <a:pt x="12275" y="4574"/>
                    </a:lnTo>
                    <a:lnTo>
                      <a:pt x="12235" y="2925"/>
                    </a:lnTo>
                    <a:lnTo>
                      <a:pt x="11740" y="2196"/>
                    </a:lnTo>
                    <a:lnTo>
                      <a:pt x="11151" y="934"/>
                    </a:lnTo>
                    <a:lnTo>
                      <a:pt x="10315" y="541"/>
                    </a:lnTo>
                    <a:lnTo>
                      <a:pt x="9851" y="556"/>
                    </a:lnTo>
                    <a:cubicBezTo>
                      <a:pt x="9851" y="556"/>
                      <a:pt x="9090" y="-95"/>
                      <a:pt x="9008" y="12"/>
                    </a:cubicBezTo>
                    <a:cubicBezTo>
                      <a:pt x="8926" y="119"/>
                      <a:pt x="8603" y="612"/>
                      <a:pt x="8603" y="612"/>
                    </a:cubicBezTo>
                    <a:lnTo>
                      <a:pt x="7955" y="51"/>
                    </a:lnTo>
                    <a:lnTo>
                      <a:pt x="6921" y="934"/>
                    </a:lnTo>
                    <a:lnTo>
                      <a:pt x="6394" y="1650"/>
                    </a:lnTo>
                    <a:lnTo>
                      <a:pt x="6187" y="2196"/>
                    </a:lnTo>
                    <a:lnTo>
                      <a:pt x="5399" y="2491"/>
                    </a:lnTo>
                    <a:lnTo>
                      <a:pt x="5168" y="4290"/>
                    </a:lnTo>
                    <a:lnTo>
                      <a:pt x="4129" y="6361"/>
                    </a:lnTo>
                    <a:lnTo>
                      <a:pt x="3589" y="7960"/>
                    </a:lnTo>
                    <a:lnTo>
                      <a:pt x="3589" y="9095"/>
                    </a:lnTo>
                    <a:lnTo>
                      <a:pt x="3362" y="10029"/>
                    </a:lnTo>
                    <a:lnTo>
                      <a:pt x="3022" y="10029"/>
                    </a:lnTo>
                    <a:lnTo>
                      <a:pt x="2454" y="10314"/>
                    </a:lnTo>
                    <a:lnTo>
                      <a:pt x="1779" y="10904"/>
                    </a:lnTo>
                    <a:lnTo>
                      <a:pt x="1111" y="11703"/>
                    </a:lnTo>
                    <a:lnTo>
                      <a:pt x="386" y="13807"/>
                    </a:lnTo>
                    <a:lnTo>
                      <a:pt x="73" y="18353"/>
                    </a:lnTo>
                    <a:lnTo>
                      <a:pt x="0" y="19744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>
                <a:outerShdw blurRad="1270000" dir="2700000" rotWithShape="0">
                  <a:srgbClr val="EEF3F4"/>
                </a:outerShdw>
              </a:effectLst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77" name="íśḻîdê">
                <a:extLst>
                  <a:ext uri="{FF2B5EF4-FFF2-40B4-BE49-F238E27FC236}">
                    <a16:creationId xmlns:a16="http://schemas.microsoft.com/office/drawing/2014/main" id="{EEA07B8B-84B9-4A88-96A1-FC7C75187D5B}"/>
                  </a:ext>
                </a:extLst>
              </p:cNvPr>
              <p:cNvSpPr/>
              <p:nvPr/>
            </p:nvSpPr>
            <p:spPr>
              <a:xfrm rot="10800000" flipH="1">
                <a:off x="4975" y="232898"/>
                <a:ext cx="3285692" cy="613704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277" y="21600"/>
                    </a:moveTo>
                    <a:cubicBezTo>
                      <a:pt x="21277" y="21600"/>
                      <a:pt x="5549" y="20459"/>
                      <a:pt x="3142" y="19936"/>
                    </a:cubicBezTo>
                    <a:cubicBezTo>
                      <a:pt x="736" y="19414"/>
                      <a:pt x="0" y="19271"/>
                      <a:pt x="0" y="19271"/>
                    </a:cubicBezTo>
                    <a:cubicBezTo>
                      <a:pt x="0" y="19271"/>
                      <a:pt x="1364" y="18113"/>
                      <a:pt x="1875" y="17839"/>
                    </a:cubicBezTo>
                    <a:cubicBezTo>
                      <a:pt x="2385" y="17566"/>
                      <a:pt x="3763" y="15813"/>
                      <a:pt x="3763" y="15813"/>
                    </a:cubicBezTo>
                    <a:lnTo>
                      <a:pt x="4606" y="13727"/>
                    </a:lnTo>
                    <a:lnTo>
                      <a:pt x="3941" y="13067"/>
                    </a:lnTo>
                    <a:cubicBezTo>
                      <a:pt x="3941" y="13067"/>
                      <a:pt x="2385" y="15349"/>
                      <a:pt x="2177" y="15628"/>
                    </a:cubicBezTo>
                    <a:cubicBezTo>
                      <a:pt x="1968" y="15907"/>
                      <a:pt x="763" y="17185"/>
                      <a:pt x="763" y="17185"/>
                    </a:cubicBezTo>
                    <a:lnTo>
                      <a:pt x="3099" y="12729"/>
                    </a:lnTo>
                    <a:cubicBezTo>
                      <a:pt x="3099" y="12729"/>
                      <a:pt x="3692" y="11345"/>
                      <a:pt x="3799" y="11066"/>
                    </a:cubicBezTo>
                    <a:cubicBezTo>
                      <a:pt x="3905" y="10786"/>
                      <a:pt x="4535" y="9598"/>
                      <a:pt x="4535" y="9598"/>
                    </a:cubicBezTo>
                    <a:lnTo>
                      <a:pt x="5019" y="10014"/>
                    </a:lnTo>
                    <a:lnTo>
                      <a:pt x="5444" y="8927"/>
                    </a:lnTo>
                    <a:lnTo>
                      <a:pt x="6073" y="9444"/>
                    </a:lnTo>
                    <a:lnTo>
                      <a:pt x="6486" y="8641"/>
                    </a:lnTo>
                    <a:lnTo>
                      <a:pt x="6805" y="9866"/>
                    </a:lnTo>
                    <a:cubicBezTo>
                      <a:pt x="6805" y="9866"/>
                      <a:pt x="5710" y="11559"/>
                      <a:pt x="5604" y="11934"/>
                    </a:cubicBezTo>
                    <a:cubicBezTo>
                      <a:pt x="5498" y="12309"/>
                      <a:pt x="5710" y="13575"/>
                      <a:pt x="5710" y="13575"/>
                    </a:cubicBezTo>
                    <a:lnTo>
                      <a:pt x="6588" y="13480"/>
                    </a:lnTo>
                    <a:lnTo>
                      <a:pt x="6783" y="11310"/>
                    </a:lnTo>
                    <a:lnTo>
                      <a:pt x="7762" y="11168"/>
                    </a:lnTo>
                    <a:lnTo>
                      <a:pt x="8676" y="11917"/>
                    </a:lnTo>
                    <a:lnTo>
                      <a:pt x="9101" y="10556"/>
                    </a:lnTo>
                    <a:lnTo>
                      <a:pt x="9341" y="9449"/>
                    </a:lnTo>
                    <a:cubicBezTo>
                      <a:pt x="9341" y="9449"/>
                      <a:pt x="10502" y="9883"/>
                      <a:pt x="10502" y="10156"/>
                    </a:cubicBezTo>
                    <a:cubicBezTo>
                      <a:pt x="10502" y="10430"/>
                      <a:pt x="9119" y="12290"/>
                      <a:pt x="8942" y="12664"/>
                    </a:cubicBezTo>
                    <a:cubicBezTo>
                      <a:pt x="8765" y="13039"/>
                      <a:pt x="8340" y="13752"/>
                      <a:pt x="8340" y="14311"/>
                    </a:cubicBezTo>
                    <a:cubicBezTo>
                      <a:pt x="8340" y="14869"/>
                      <a:pt x="8690" y="15154"/>
                      <a:pt x="8690" y="15154"/>
                    </a:cubicBezTo>
                    <a:lnTo>
                      <a:pt x="9962" y="12706"/>
                    </a:lnTo>
                    <a:lnTo>
                      <a:pt x="10871" y="11951"/>
                    </a:lnTo>
                    <a:cubicBezTo>
                      <a:pt x="10871" y="11951"/>
                      <a:pt x="11261" y="11655"/>
                      <a:pt x="11363" y="11381"/>
                    </a:cubicBezTo>
                    <a:cubicBezTo>
                      <a:pt x="11465" y="11107"/>
                      <a:pt x="12383" y="10067"/>
                      <a:pt x="12383" y="10067"/>
                    </a:cubicBezTo>
                    <a:lnTo>
                      <a:pt x="13513" y="7951"/>
                    </a:lnTo>
                    <a:cubicBezTo>
                      <a:pt x="13513" y="7951"/>
                      <a:pt x="13895" y="7143"/>
                      <a:pt x="13615" y="7143"/>
                    </a:cubicBezTo>
                    <a:cubicBezTo>
                      <a:pt x="13335" y="7143"/>
                      <a:pt x="11780" y="7001"/>
                      <a:pt x="11780" y="7001"/>
                    </a:cubicBezTo>
                    <a:lnTo>
                      <a:pt x="9905" y="6858"/>
                    </a:lnTo>
                    <a:cubicBezTo>
                      <a:pt x="9905" y="6858"/>
                      <a:pt x="10579" y="1214"/>
                      <a:pt x="11177" y="607"/>
                    </a:cubicBezTo>
                    <a:cubicBezTo>
                      <a:pt x="11776" y="0"/>
                      <a:pt x="12051" y="0"/>
                      <a:pt x="12051" y="0"/>
                    </a:cubicBezTo>
                    <a:lnTo>
                      <a:pt x="11838" y="1213"/>
                    </a:lnTo>
                    <a:lnTo>
                      <a:pt x="12259" y="1629"/>
                    </a:lnTo>
                    <a:lnTo>
                      <a:pt x="12751" y="1107"/>
                    </a:lnTo>
                    <a:lnTo>
                      <a:pt x="13177" y="114"/>
                    </a:lnTo>
                    <a:lnTo>
                      <a:pt x="13696" y="399"/>
                    </a:lnTo>
                    <a:lnTo>
                      <a:pt x="14507" y="263"/>
                    </a:lnTo>
                    <a:lnTo>
                      <a:pt x="13881" y="1565"/>
                    </a:lnTo>
                    <a:lnTo>
                      <a:pt x="14369" y="1939"/>
                    </a:lnTo>
                    <a:lnTo>
                      <a:pt x="14157" y="3027"/>
                    </a:lnTo>
                    <a:lnTo>
                      <a:pt x="13452" y="3918"/>
                    </a:lnTo>
                    <a:lnTo>
                      <a:pt x="13554" y="5054"/>
                    </a:lnTo>
                    <a:lnTo>
                      <a:pt x="14073" y="4769"/>
                    </a:lnTo>
                    <a:lnTo>
                      <a:pt x="14774" y="3206"/>
                    </a:lnTo>
                    <a:lnTo>
                      <a:pt x="15053" y="4383"/>
                    </a:lnTo>
                    <a:lnTo>
                      <a:pt x="14521" y="6510"/>
                    </a:lnTo>
                    <a:lnTo>
                      <a:pt x="13435" y="9482"/>
                    </a:lnTo>
                    <a:lnTo>
                      <a:pt x="13151" y="11122"/>
                    </a:lnTo>
                    <a:lnTo>
                      <a:pt x="13045" y="12875"/>
                    </a:lnTo>
                    <a:lnTo>
                      <a:pt x="14774" y="11788"/>
                    </a:lnTo>
                    <a:lnTo>
                      <a:pt x="14774" y="10659"/>
                    </a:lnTo>
                    <a:lnTo>
                      <a:pt x="15341" y="8995"/>
                    </a:lnTo>
                    <a:lnTo>
                      <a:pt x="16041" y="8097"/>
                    </a:lnTo>
                    <a:lnTo>
                      <a:pt x="16321" y="7105"/>
                    </a:lnTo>
                    <a:lnTo>
                      <a:pt x="17451" y="5839"/>
                    </a:lnTo>
                    <a:lnTo>
                      <a:pt x="18404" y="6831"/>
                    </a:lnTo>
                    <a:cubicBezTo>
                      <a:pt x="18404" y="6831"/>
                      <a:pt x="18931" y="8447"/>
                      <a:pt x="18829" y="8864"/>
                    </a:cubicBezTo>
                    <a:cubicBezTo>
                      <a:pt x="18727" y="9280"/>
                      <a:pt x="18231" y="10314"/>
                      <a:pt x="18231" y="10314"/>
                    </a:cubicBezTo>
                    <a:cubicBezTo>
                      <a:pt x="18231" y="10314"/>
                      <a:pt x="18443" y="11544"/>
                      <a:pt x="18443" y="11824"/>
                    </a:cubicBezTo>
                    <a:cubicBezTo>
                      <a:pt x="18443" y="12103"/>
                      <a:pt x="18337" y="13417"/>
                      <a:pt x="18337" y="13417"/>
                    </a:cubicBezTo>
                    <a:lnTo>
                      <a:pt x="18762" y="14451"/>
                    </a:lnTo>
                    <a:lnTo>
                      <a:pt x="19081" y="15824"/>
                    </a:lnTo>
                    <a:lnTo>
                      <a:pt x="19959" y="15729"/>
                    </a:lnTo>
                    <a:lnTo>
                      <a:pt x="19959" y="14505"/>
                    </a:lnTo>
                    <a:cubicBezTo>
                      <a:pt x="19959" y="14505"/>
                      <a:pt x="19006" y="13216"/>
                      <a:pt x="19006" y="12942"/>
                    </a:cubicBezTo>
                    <a:cubicBezTo>
                      <a:pt x="19006" y="12668"/>
                      <a:pt x="19499" y="12383"/>
                      <a:pt x="19499" y="12383"/>
                    </a:cubicBezTo>
                    <a:cubicBezTo>
                      <a:pt x="19499" y="12383"/>
                      <a:pt x="20261" y="11592"/>
                      <a:pt x="19880" y="11497"/>
                    </a:cubicBezTo>
                    <a:cubicBezTo>
                      <a:pt x="19499" y="11402"/>
                      <a:pt x="18789" y="10868"/>
                      <a:pt x="18789" y="10594"/>
                    </a:cubicBezTo>
                    <a:cubicBezTo>
                      <a:pt x="18789" y="10320"/>
                      <a:pt x="19742" y="9755"/>
                      <a:pt x="19742" y="9755"/>
                    </a:cubicBezTo>
                    <a:lnTo>
                      <a:pt x="20682" y="10320"/>
                    </a:lnTo>
                    <a:lnTo>
                      <a:pt x="21139" y="9666"/>
                    </a:lnTo>
                    <a:lnTo>
                      <a:pt x="21210" y="13558"/>
                    </a:lnTo>
                    <a:cubicBezTo>
                      <a:pt x="21210" y="13558"/>
                      <a:pt x="21600" y="16219"/>
                      <a:pt x="21600" y="16499"/>
                    </a:cubicBezTo>
                    <a:cubicBezTo>
                      <a:pt x="21600" y="16778"/>
                      <a:pt x="21600" y="20385"/>
                      <a:pt x="21600" y="20385"/>
                    </a:cubicBezTo>
                    <a:lnTo>
                      <a:pt x="21277" y="21600"/>
                    </a:lnTo>
                    <a:close/>
                  </a:path>
                </a:pathLst>
              </a:custGeom>
              <a:solidFill>
                <a:srgbClr val="ADC6E2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78" name="íśḷiďé">
                <a:extLst>
                  <a:ext uri="{FF2B5EF4-FFF2-40B4-BE49-F238E27FC236}">
                    <a16:creationId xmlns:a16="http://schemas.microsoft.com/office/drawing/2014/main" id="{37CBC017-ED66-4C0F-BE46-F92D1FB83625}"/>
                  </a:ext>
                </a:extLst>
              </p:cNvPr>
              <p:cNvSpPr/>
              <p:nvPr/>
            </p:nvSpPr>
            <p:spPr>
              <a:xfrm rot="10800000" flipH="1">
                <a:off x="3194687" y="4592711"/>
                <a:ext cx="396470" cy="289920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14" y="0"/>
                    </a:moveTo>
                    <a:lnTo>
                      <a:pt x="12196" y="5397"/>
                    </a:lnTo>
                    <a:lnTo>
                      <a:pt x="16312" y="8504"/>
                    </a:lnTo>
                    <a:lnTo>
                      <a:pt x="21600" y="12014"/>
                    </a:lnTo>
                    <a:lnTo>
                      <a:pt x="21600" y="16014"/>
                    </a:lnTo>
                    <a:lnTo>
                      <a:pt x="16312" y="19523"/>
                    </a:lnTo>
                    <a:lnTo>
                      <a:pt x="11644" y="21600"/>
                    </a:lnTo>
                    <a:lnTo>
                      <a:pt x="9037" y="19813"/>
                    </a:lnTo>
                    <a:lnTo>
                      <a:pt x="14289" y="16002"/>
                    </a:lnTo>
                    <a:cubicBezTo>
                      <a:pt x="14289" y="16002"/>
                      <a:pt x="15171" y="13977"/>
                      <a:pt x="15171" y="13386"/>
                    </a:cubicBezTo>
                    <a:cubicBezTo>
                      <a:pt x="15171" y="12795"/>
                      <a:pt x="12563" y="11586"/>
                      <a:pt x="12563" y="10995"/>
                    </a:cubicBezTo>
                    <a:cubicBezTo>
                      <a:pt x="12563" y="10404"/>
                      <a:pt x="4958" y="10493"/>
                      <a:pt x="4958" y="8291"/>
                    </a:cubicBezTo>
                    <a:cubicBezTo>
                      <a:pt x="4958" y="6090"/>
                      <a:pt x="4079" y="4693"/>
                      <a:pt x="4079" y="4693"/>
                    </a:cubicBezTo>
                    <a:lnTo>
                      <a:pt x="0" y="1611"/>
                    </a:lnTo>
                    <a:lnTo>
                      <a:pt x="2314" y="0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79" name="îşļíḓè">
                <a:extLst>
                  <a:ext uri="{FF2B5EF4-FFF2-40B4-BE49-F238E27FC236}">
                    <a16:creationId xmlns:a16="http://schemas.microsoft.com/office/drawing/2014/main" id="{71227E16-3769-4E50-B247-466F7F33590D}"/>
                  </a:ext>
                </a:extLst>
              </p:cNvPr>
              <p:cNvSpPr/>
              <p:nvPr/>
            </p:nvSpPr>
            <p:spPr>
              <a:xfrm rot="10800000" flipH="1">
                <a:off x="3128678" y="4554276"/>
                <a:ext cx="214404" cy="13320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28" y="655"/>
                    </a:moveTo>
                    <a:lnTo>
                      <a:pt x="21600" y="0"/>
                    </a:lnTo>
                    <a:lnTo>
                      <a:pt x="21600" y="6954"/>
                    </a:lnTo>
                    <a:lnTo>
                      <a:pt x="13997" y="21600"/>
                    </a:lnTo>
                    <a:lnTo>
                      <a:pt x="0" y="17851"/>
                    </a:lnTo>
                    <a:lnTo>
                      <a:pt x="1626" y="2821"/>
                    </a:lnTo>
                    <a:lnTo>
                      <a:pt x="5366" y="13251"/>
                    </a:lnTo>
                    <a:lnTo>
                      <a:pt x="11210" y="7225"/>
                    </a:lnTo>
                    <a:lnTo>
                      <a:pt x="10928" y="655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80" name="ïṥ1iďè">
                <a:extLst>
                  <a:ext uri="{FF2B5EF4-FFF2-40B4-BE49-F238E27FC236}">
                    <a16:creationId xmlns:a16="http://schemas.microsoft.com/office/drawing/2014/main" id="{6032C886-B7BB-4D6A-A598-9BCAD527FC8D}"/>
                  </a:ext>
                </a:extLst>
              </p:cNvPr>
              <p:cNvSpPr/>
              <p:nvPr/>
            </p:nvSpPr>
            <p:spPr>
              <a:xfrm rot="10800000" flipH="1">
                <a:off x="2700300" y="5953964"/>
                <a:ext cx="251473" cy="18624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278" y="0"/>
                    </a:moveTo>
                    <a:lnTo>
                      <a:pt x="13893" y="7460"/>
                    </a:lnTo>
                    <a:lnTo>
                      <a:pt x="12501" y="12279"/>
                    </a:lnTo>
                    <a:lnTo>
                      <a:pt x="20266" y="14434"/>
                    </a:lnTo>
                    <a:lnTo>
                      <a:pt x="21600" y="21600"/>
                    </a:lnTo>
                    <a:lnTo>
                      <a:pt x="11412" y="17565"/>
                    </a:lnTo>
                    <a:lnTo>
                      <a:pt x="3075" y="12260"/>
                    </a:lnTo>
                    <a:lnTo>
                      <a:pt x="7243" y="7737"/>
                    </a:lnTo>
                    <a:lnTo>
                      <a:pt x="0" y="4974"/>
                    </a:lnTo>
                    <a:lnTo>
                      <a:pt x="4278" y="0"/>
                    </a:lnTo>
                    <a:close/>
                  </a:path>
                </a:pathLst>
              </a:custGeom>
              <a:solidFill>
                <a:srgbClr val="ADC6E2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81" name="ïṡlidè">
                <a:extLst>
                  <a:ext uri="{FF2B5EF4-FFF2-40B4-BE49-F238E27FC236}">
                    <a16:creationId xmlns:a16="http://schemas.microsoft.com/office/drawing/2014/main" id="{8C31CB2D-E053-4703-B8D6-84E2448CE894}"/>
                  </a:ext>
                </a:extLst>
              </p:cNvPr>
              <p:cNvSpPr/>
              <p:nvPr/>
            </p:nvSpPr>
            <p:spPr>
              <a:xfrm rot="10800000" flipH="1">
                <a:off x="2235821" y="4772592"/>
                <a:ext cx="761452" cy="262740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986" y="4859"/>
                    </a:moveTo>
                    <a:lnTo>
                      <a:pt x="6884" y="0"/>
                    </a:lnTo>
                    <a:lnTo>
                      <a:pt x="9754" y="5387"/>
                    </a:lnTo>
                    <a:lnTo>
                      <a:pt x="9295" y="10037"/>
                    </a:lnTo>
                    <a:lnTo>
                      <a:pt x="11895" y="12022"/>
                    </a:lnTo>
                    <a:lnTo>
                      <a:pt x="14136" y="8150"/>
                    </a:lnTo>
                    <a:lnTo>
                      <a:pt x="16394" y="11217"/>
                    </a:lnTo>
                    <a:lnTo>
                      <a:pt x="16394" y="14522"/>
                    </a:lnTo>
                    <a:lnTo>
                      <a:pt x="19361" y="14842"/>
                    </a:lnTo>
                    <a:lnTo>
                      <a:pt x="21600" y="14189"/>
                    </a:lnTo>
                    <a:lnTo>
                      <a:pt x="21600" y="18922"/>
                    </a:lnTo>
                    <a:lnTo>
                      <a:pt x="20665" y="21600"/>
                    </a:lnTo>
                    <a:lnTo>
                      <a:pt x="16571" y="19713"/>
                    </a:lnTo>
                    <a:lnTo>
                      <a:pt x="12764" y="15104"/>
                    </a:lnTo>
                    <a:lnTo>
                      <a:pt x="9032" y="12590"/>
                    </a:lnTo>
                    <a:lnTo>
                      <a:pt x="5856" y="8659"/>
                    </a:lnTo>
                    <a:lnTo>
                      <a:pt x="900" y="7451"/>
                    </a:lnTo>
                    <a:lnTo>
                      <a:pt x="0" y="3691"/>
                    </a:lnTo>
                    <a:lnTo>
                      <a:pt x="2564" y="1065"/>
                    </a:lnTo>
                    <a:lnTo>
                      <a:pt x="5986" y="4859"/>
                    </a:lnTo>
                    <a:close/>
                  </a:path>
                </a:pathLst>
              </a:custGeom>
              <a:solidFill>
                <a:srgbClr val="ADC6E2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82" name="îşľïḍè">
                <a:extLst>
                  <a:ext uri="{FF2B5EF4-FFF2-40B4-BE49-F238E27FC236}">
                    <a16:creationId xmlns:a16="http://schemas.microsoft.com/office/drawing/2014/main" id="{1717C0CD-1D8B-48A4-B390-AE206B7CF27E}"/>
                  </a:ext>
                </a:extLst>
              </p:cNvPr>
              <p:cNvSpPr/>
              <p:nvPr/>
            </p:nvSpPr>
            <p:spPr>
              <a:xfrm rot="10800000" flipH="1">
                <a:off x="2288481" y="4448990"/>
                <a:ext cx="352062" cy="164809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211" y="2479"/>
                    </a:lnTo>
                    <a:lnTo>
                      <a:pt x="17707" y="8610"/>
                    </a:lnTo>
                    <a:lnTo>
                      <a:pt x="21600" y="13834"/>
                    </a:lnTo>
                    <a:lnTo>
                      <a:pt x="15023" y="16821"/>
                    </a:lnTo>
                    <a:lnTo>
                      <a:pt x="7452" y="21600"/>
                    </a:lnTo>
                    <a:lnTo>
                      <a:pt x="7452" y="15979"/>
                    </a:lnTo>
                    <a:lnTo>
                      <a:pt x="11673" y="13231"/>
                    </a:lnTo>
                    <a:lnTo>
                      <a:pt x="10020" y="6302"/>
                    </a:lnTo>
                    <a:lnTo>
                      <a:pt x="2278" y="38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DC6E2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83" name="ïŝľíḍè">
                <a:extLst>
                  <a:ext uri="{FF2B5EF4-FFF2-40B4-BE49-F238E27FC236}">
                    <a16:creationId xmlns:a16="http://schemas.microsoft.com/office/drawing/2014/main" id="{2E923E63-4BBB-4436-A2BD-772D6AE23E56}"/>
                  </a:ext>
                </a:extLst>
              </p:cNvPr>
              <p:cNvSpPr/>
              <p:nvPr/>
            </p:nvSpPr>
            <p:spPr>
              <a:xfrm rot="10800000" flipH="1">
                <a:off x="4043077" y="5187959"/>
                <a:ext cx="262270" cy="145362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24" y="0"/>
                    </a:moveTo>
                    <a:lnTo>
                      <a:pt x="21600" y="9985"/>
                    </a:lnTo>
                    <a:lnTo>
                      <a:pt x="17603" y="21600"/>
                    </a:lnTo>
                    <a:lnTo>
                      <a:pt x="12276" y="12121"/>
                    </a:lnTo>
                    <a:lnTo>
                      <a:pt x="6056" y="20124"/>
                    </a:lnTo>
                    <a:lnTo>
                      <a:pt x="2168" y="16986"/>
                    </a:lnTo>
                    <a:lnTo>
                      <a:pt x="0" y="5371"/>
                    </a:lnTo>
                    <a:lnTo>
                      <a:pt x="7780" y="7554"/>
                    </a:lnTo>
                    <a:lnTo>
                      <a:pt x="16324" y="0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84" name="î$lïďé">
                <a:extLst>
                  <a:ext uri="{FF2B5EF4-FFF2-40B4-BE49-F238E27FC236}">
                    <a16:creationId xmlns:a16="http://schemas.microsoft.com/office/drawing/2014/main" id="{DB5DEDD2-7BA0-45A2-8458-62F75E562887}"/>
                  </a:ext>
                </a:extLst>
              </p:cNvPr>
              <p:cNvSpPr/>
              <p:nvPr/>
            </p:nvSpPr>
            <p:spPr>
              <a:xfrm rot="10800000" flipH="1">
                <a:off x="4048845" y="4050341"/>
                <a:ext cx="142872" cy="5400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7589" h="21600" extrusionOk="0">
                    <a:moveTo>
                      <a:pt x="5796" y="0"/>
                    </a:moveTo>
                    <a:cubicBezTo>
                      <a:pt x="5796" y="0"/>
                      <a:pt x="-4011" y="16745"/>
                      <a:pt x="1889" y="18362"/>
                    </a:cubicBezTo>
                    <a:cubicBezTo>
                      <a:pt x="7790" y="19978"/>
                      <a:pt x="13683" y="21600"/>
                      <a:pt x="13683" y="21600"/>
                    </a:cubicBezTo>
                    <a:lnTo>
                      <a:pt x="17589" y="10931"/>
                    </a:lnTo>
                    <a:lnTo>
                      <a:pt x="5796" y="0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85" name="iṩ1íďe">
                <a:extLst>
                  <a:ext uri="{FF2B5EF4-FFF2-40B4-BE49-F238E27FC236}">
                    <a16:creationId xmlns:a16="http://schemas.microsoft.com/office/drawing/2014/main" id="{3BEABC22-CC03-4ACB-A273-C5D8C4AE81B9}"/>
                  </a:ext>
                </a:extLst>
              </p:cNvPr>
              <p:cNvSpPr/>
              <p:nvPr/>
            </p:nvSpPr>
            <p:spPr>
              <a:xfrm rot="10800000" flipH="1">
                <a:off x="4625921" y="4543488"/>
                <a:ext cx="307591" cy="118031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829"/>
                    </a:moveTo>
                    <a:lnTo>
                      <a:pt x="21600" y="21600"/>
                    </a:lnTo>
                    <a:lnTo>
                      <a:pt x="8346" y="0"/>
                    </a:lnTo>
                    <a:lnTo>
                      <a:pt x="0" y="1829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86" name="íṩlîḓé">
                <a:extLst>
                  <a:ext uri="{FF2B5EF4-FFF2-40B4-BE49-F238E27FC236}">
                    <a16:creationId xmlns:a16="http://schemas.microsoft.com/office/drawing/2014/main" id="{673384A6-865C-4E0B-BE7C-18FBC02F89A8}"/>
                  </a:ext>
                </a:extLst>
              </p:cNvPr>
              <p:cNvSpPr/>
              <p:nvPr/>
            </p:nvSpPr>
            <p:spPr>
              <a:xfrm rot="10800000" flipH="1">
                <a:off x="5921678" y="667711"/>
                <a:ext cx="598193" cy="19332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013" y="3264"/>
                    </a:moveTo>
                    <a:lnTo>
                      <a:pt x="6013" y="0"/>
                    </a:lnTo>
                    <a:lnTo>
                      <a:pt x="0" y="0"/>
                    </a:lnTo>
                    <a:lnTo>
                      <a:pt x="0" y="7810"/>
                    </a:lnTo>
                    <a:lnTo>
                      <a:pt x="1168" y="13809"/>
                    </a:lnTo>
                    <a:lnTo>
                      <a:pt x="7525" y="18636"/>
                    </a:lnTo>
                    <a:lnTo>
                      <a:pt x="11302" y="21600"/>
                    </a:lnTo>
                    <a:lnTo>
                      <a:pt x="18336" y="20561"/>
                    </a:lnTo>
                    <a:lnTo>
                      <a:pt x="21015" y="18034"/>
                    </a:lnTo>
                    <a:lnTo>
                      <a:pt x="21600" y="12789"/>
                    </a:lnTo>
                    <a:lnTo>
                      <a:pt x="20042" y="7525"/>
                    </a:lnTo>
                    <a:lnTo>
                      <a:pt x="18312" y="14961"/>
                    </a:lnTo>
                    <a:lnTo>
                      <a:pt x="16754" y="17604"/>
                    </a:lnTo>
                    <a:lnTo>
                      <a:pt x="15587" y="10531"/>
                    </a:lnTo>
                    <a:lnTo>
                      <a:pt x="12734" y="7550"/>
                    </a:lnTo>
                    <a:lnTo>
                      <a:pt x="8086" y="11605"/>
                    </a:lnTo>
                    <a:lnTo>
                      <a:pt x="5967" y="9983"/>
                    </a:lnTo>
                    <a:lnTo>
                      <a:pt x="11543" y="3868"/>
                    </a:lnTo>
                    <a:lnTo>
                      <a:pt x="8498" y="1944"/>
                    </a:lnTo>
                    <a:lnTo>
                      <a:pt x="6013" y="3264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87" name="îślíḍê">
                <a:extLst>
                  <a:ext uri="{FF2B5EF4-FFF2-40B4-BE49-F238E27FC236}">
                    <a16:creationId xmlns:a16="http://schemas.microsoft.com/office/drawing/2014/main" id="{111E9F1E-BF9D-483A-8AC5-14F6E8542509}"/>
                  </a:ext>
                </a:extLst>
              </p:cNvPr>
              <p:cNvSpPr/>
              <p:nvPr/>
            </p:nvSpPr>
            <p:spPr>
              <a:xfrm rot="10800000" flipH="1">
                <a:off x="6426263" y="806576"/>
                <a:ext cx="325062" cy="175443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780" y="7588"/>
                    </a:lnTo>
                    <a:lnTo>
                      <a:pt x="12856" y="15861"/>
                    </a:lnTo>
                    <a:lnTo>
                      <a:pt x="13888" y="21102"/>
                    </a:lnTo>
                    <a:lnTo>
                      <a:pt x="20524" y="21600"/>
                    </a:lnTo>
                    <a:cubicBezTo>
                      <a:pt x="20524" y="21600"/>
                      <a:pt x="21600" y="15450"/>
                      <a:pt x="21600" y="13993"/>
                    </a:cubicBezTo>
                    <a:cubicBezTo>
                      <a:pt x="21600" y="12536"/>
                      <a:pt x="21600" y="6404"/>
                      <a:pt x="21600" y="6404"/>
                    </a:cubicBezTo>
                    <a:lnTo>
                      <a:pt x="15150" y="3432"/>
                    </a:lnTo>
                    <a:lnTo>
                      <a:pt x="8829" y="24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88" name="iŝļiḑê">
                <a:extLst>
                  <a:ext uri="{FF2B5EF4-FFF2-40B4-BE49-F238E27FC236}">
                    <a16:creationId xmlns:a16="http://schemas.microsoft.com/office/drawing/2014/main" id="{A2A01868-7A93-4D2A-90DC-630A505D4CA1}"/>
                  </a:ext>
                </a:extLst>
              </p:cNvPr>
              <p:cNvSpPr/>
              <p:nvPr/>
            </p:nvSpPr>
            <p:spPr>
              <a:xfrm rot="10800000" flipH="1">
                <a:off x="4374389" y="4729903"/>
                <a:ext cx="209914" cy="162424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994" y="0"/>
                    </a:moveTo>
                    <a:lnTo>
                      <a:pt x="0" y="15424"/>
                    </a:lnTo>
                    <a:lnTo>
                      <a:pt x="10769" y="16501"/>
                    </a:lnTo>
                    <a:lnTo>
                      <a:pt x="10144" y="21600"/>
                    </a:lnTo>
                    <a:lnTo>
                      <a:pt x="21600" y="20523"/>
                    </a:lnTo>
                    <a:lnTo>
                      <a:pt x="10925" y="9411"/>
                    </a:lnTo>
                    <a:lnTo>
                      <a:pt x="4994" y="0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</p:grpSp>
        <p:grpSp>
          <p:nvGrpSpPr>
            <p:cNvPr id="143" name="îś1íďê">
              <a:extLst>
                <a:ext uri="{FF2B5EF4-FFF2-40B4-BE49-F238E27FC236}">
                  <a16:creationId xmlns:a16="http://schemas.microsoft.com/office/drawing/2014/main" id="{9C503D9A-3366-4085-A694-4EDDBA4FA5C7}"/>
                </a:ext>
              </a:extLst>
            </p:cNvPr>
            <p:cNvGrpSpPr/>
            <p:nvPr/>
          </p:nvGrpSpPr>
          <p:grpSpPr>
            <a:xfrm>
              <a:off x="4105097" y="768375"/>
              <a:ext cx="3558952" cy="1648836"/>
              <a:chOff x="0" y="0"/>
              <a:chExt cx="7117900" cy="3297667"/>
            </a:xfrm>
          </p:grpSpPr>
          <p:grpSp>
            <p:nvGrpSpPr>
              <p:cNvPr id="161" name="íṥliḋê">
                <a:extLst>
                  <a:ext uri="{FF2B5EF4-FFF2-40B4-BE49-F238E27FC236}">
                    <a16:creationId xmlns:a16="http://schemas.microsoft.com/office/drawing/2014/main" id="{B8927067-DB8C-4087-BBE0-F9ABDD0684E3}"/>
                  </a:ext>
                </a:extLst>
              </p:cNvPr>
              <p:cNvGrpSpPr/>
              <p:nvPr/>
            </p:nvGrpSpPr>
            <p:grpSpPr>
              <a:xfrm>
                <a:off x="0" y="0"/>
                <a:ext cx="7117900" cy="3297667"/>
                <a:chOff x="0" y="0"/>
                <a:chExt cx="7117899" cy="3297666"/>
              </a:xfrm>
            </p:grpSpPr>
            <p:sp>
              <p:nvSpPr>
                <p:cNvPr id="163" name="iṡlîḍê">
                  <a:extLst>
                    <a:ext uri="{FF2B5EF4-FFF2-40B4-BE49-F238E27FC236}">
                      <a16:creationId xmlns:a16="http://schemas.microsoft.com/office/drawing/2014/main" id="{99893AB0-8325-4B71-9DF6-55A40737C34D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7117899" cy="329766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19847"/>
                      </a:moveTo>
                      <a:lnTo>
                        <a:pt x="1796" y="20374"/>
                      </a:lnTo>
                      <a:cubicBezTo>
                        <a:pt x="1796" y="20374"/>
                        <a:pt x="3515" y="20662"/>
                        <a:pt x="3610" y="20764"/>
                      </a:cubicBezTo>
                      <a:cubicBezTo>
                        <a:pt x="3704" y="20865"/>
                        <a:pt x="5402" y="20971"/>
                        <a:pt x="5402" y="20971"/>
                      </a:cubicBezTo>
                      <a:cubicBezTo>
                        <a:pt x="5402" y="20971"/>
                        <a:pt x="6612" y="21078"/>
                        <a:pt x="6708" y="21078"/>
                      </a:cubicBezTo>
                      <a:cubicBezTo>
                        <a:pt x="6804" y="21078"/>
                        <a:pt x="8782" y="21219"/>
                        <a:pt x="8782" y="21219"/>
                      </a:cubicBezTo>
                      <a:lnTo>
                        <a:pt x="9857" y="21529"/>
                      </a:lnTo>
                      <a:lnTo>
                        <a:pt x="10574" y="21600"/>
                      </a:lnTo>
                      <a:lnTo>
                        <a:pt x="14169" y="21356"/>
                      </a:lnTo>
                      <a:lnTo>
                        <a:pt x="15332" y="21144"/>
                      </a:lnTo>
                      <a:cubicBezTo>
                        <a:pt x="15332" y="21144"/>
                        <a:pt x="16084" y="20932"/>
                        <a:pt x="16213" y="20932"/>
                      </a:cubicBezTo>
                      <a:cubicBezTo>
                        <a:pt x="16342" y="20932"/>
                        <a:pt x="17466" y="20932"/>
                        <a:pt x="17466" y="20932"/>
                      </a:cubicBezTo>
                      <a:cubicBezTo>
                        <a:pt x="17466" y="20932"/>
                        <a:pt x="18449" y="21034"/>
                        <a:pt x="18578" y="20932"/>
                      </a:cubicBezTo>
                      <a:cubicBezTo>
                        <a:pt x="18707" y="20830"/>
                        <a:pt x="19606" y="20826"/>
                        <a:pt x="19688" y="20724"/>
                      </a:cubicBezTo>
                      <a:cubicBezTo>
                        <a:pt x="19769" y="20622"/>
                        <a:pt x="20916" y="20551"/>
                        <a:pt x="20916" y="20551"/>
                      </a:cubicBezTo>
                      <a:lnTo>
                        <a:pt x="21600" y="20232"/>
                      </a:lnTo>
                      <a:lnTo>
                        <a:pt x="21354" y="18157"/>
                      </a:lnTo>
                      <a:cubicBezTo>
                        <a:pt x="21354" y="18157"/>
                        <a:pt x="21094" y="16985"/>
                        <a:pt x="21000" y="16299"/>
                      </a:cubicBezTo>
                      <a:cubicBezTo>
                        <a:pt x="20906" y="15612"/>
                        <a:pt x="20418" y="14559"/>
                        <a:pt x="20418" y="14559"/>
                      </a:cubicBezTo>
                      <a:lnTo>
                        <a:pt x="19800" y="14134"/>
                      </a:lnTo>
                      <a:lnTo>
                        <a:pt x="19544" y="14343"/>
                      </a:lnTo>
                      <a:lnTo>
                        <a:pt x="19072" y="13930"/>
                      </a:lnTo>
                      <a:lnTo>
                        <a:pt x="18290" y="13718"/>
                      </a:lnTo>
                      <a:lnTo>
                        <a:pt x="17870" y="12700"/>
                      </a:lnTo>
                      <a:lnTo>
                        <a:pt x="17151" y="12382"/>
                      </a:lnTo>
                      <a:lnTo>
                        <a:pt x="16637" y="11408"/>
                      </a:lnTo>
                      <a:lnTo>
                        <a:pt x="15904" y="11514"/>
                      </a:lnTo>
                      <a:lnTo>
                        <a:pt x="15562" y="10328"/>
                      </a:lnTo>
                      <a:lnTo>
                        <a:pt x="15243" y="9841"/>
                      </a:lnTo>
                      <a:lnTo>
                        <a:pt x="14491" y="6253"/>
                      </a:lnTo>
                      <a:lnTo>
                        <a:pt x="14002" y="6358"/>
                      </a:lnTo>
                      <a:lnTo>
                        <a:pt x="13662" y="4823"/>
                      </a:lnTo>
                      <a:lnTo>
                        <a:pt x="12858" y="3840"/>
                      </a:lnTo>
                      <a:lnTo>
                        <a:pt x="12275" y="4752"/>
                      </a:lnTo>
                      <a:lnTo>
                        <a:pt x="11967" y="4858"/>
                      </a:lnTo>
                      <a:lnTo>
                        <a:pt x="11740" y="2385"/>
                      </a:lnTo>
                      <a:lnTo>
                        <a:pt x="10943" y="1960"/>
                      </a:lnTo>
                      <a:lnTo>
                        <a:pt x="10315" y="739"/>
                      </a:lnTo>
                      <a:lnTo>
                        <a:pt x="9612" y="0"/>
                      </a:lnTo>
                      <a:cubicBezTo>
                        <a:pt x="9612" y="0"/>
                        <a:pt x="9090" y="106"/>
                        <a:pt x="9008" y="212"/>
                      </a:cubicBezTo>
                      <a:cubicBezTo>
                        <a:pt x="8926" y="319"/>
                        <a:pt x="8603" y="810"/>
                        <a:pt x="8603" y="810"/>
                      </a:cubicBezTo>
                      <a:lnTo>
                        <a:pt x="7955" y="1124"/>
                      </a:lnTo>
                      <a:lnTo>
                        <a:pt x="6981" y="2362"/>
                      </a:lnTo>
                      <a:lnTo>
                        <a:pt x="6493" y="3876"/>
                      </a:lnTo>
                      <a:lnTo>
                        <a:pt x="5877" y="4398"/>
                      </a:lnTo>
                      <a:lnTo>
                        <a:pt x="5571" y="4154"/>
                      </a:lnTo>
                      <a:lnTo>
                        <a:pt x="5168" y="4469"/>
                      </a:lnTo>
                      <a:lnTo>
                        <a:pt x="4513" y="8919"/>
                      </a:lnTo>
                      <a:lnTo>
                        <a:pt x="4275" y="10220"/>
                      </a:lnTo>
                      <a:lnTo>
                        <a:pt x="3835" y="10605"/>
                      </a:lnTo>
                      <a:lnTo>
                        <a:pt x="3362" y="10181"/>
                      </a:lnTo>
                      <a:lnTo>
                        <a:pt x="3022" y="10181"/>
                      </a:lnTo>
                      <a:lnTo>
                        <a:pt x="2454" y="10464"/>
                      </a:lnTo>
                      <a:lnTo>
                        <a:pt x="2227" y="10955"/>
                      </a:lnTo>
                      <a:lnTo>
                        <a:pt x="1932" y="11729"/>
                      </a:lnTo>
                      <a:lnTo>
                        <a:pt x="1592" y="12637"/>
                      </a:lnTo>
                      <a:lnTo>
                        <a:pt x="73" y="18463"/>
                      </a:lnTo>
                      <a:lnTo>
                        <a:pt x="0" y="19847"/>
                      </a:lnTo>
                      <a:close/>
                    </a:path>
                  </a:pathLst>
                </a:custGeom>
                <a:solidFill>
                  <a:srgbClr val="C6D9EC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64" name="iṧļîdé">
                  <a:extLst>
                    <a:ext uri="{FF2B5EF4-FFF2-40B4-BE49-F238E27FC236}">
                      <a16:creationId xmlns:a16="http://schemas.microsoft.com/office/drawing/2014/main" id="{D10A4B30-10E3-4B7E-93DC-6A1C84F185B6}"/>
                    </a:ext>
                  </a:extLst>
                </p:cNvPr>
                <p:cNvSpPr/>
                <p:nvPr/>
              </p:nvSpPr>
              <p:spPr>
                <a:xfrm>
                  <a:off x="4979" y="749198"/>
                  <a:ext cx="3288416" cy="245529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277" y="21600"/>
                      </a:moveTo>
                      <a:cubicBezTo>
                        <a:pt x="21277" y="21600"/>
                        <a:pt x="5549" y="20459"/>
                        <a:pt x="3142" y="19936"/>
                      </a:cubicBezTo>
                      <a:cubicBezTo>
                        <a:pt x="736" y="19414"/>
                        <a:pt x="0" y="19271"/>
                        <a:pt x="0" y="19271"/>
                      </a:cubicBezTo>
                      <a:cubicBezTo>
                        <a:pt x="0" y="19271"/>
                        <a:pt x="1364" y="18113"/>
                        <a:pt x="1875" y="17839"/>
                      </a:cubicBezTo>
                      <a:cubicBezTo>
                        <a:pt x="2385" y="17566"/>
                        <a:pt x="3763" y="15813"/>
                        <a:pt x="3763" y="15813"/>
                      </a:cubicBezTo>
                      <a:lnTo>
                        <a:pt x="4606" y="13727"/>
                      </a:lnTo>
                      <a:lnTo>
                        <a:pt x="3941" y="13067"/>
                      </a:lnTo>
                      <a:cubicBezTo>
                        <a:pt x="3941" y="13067"/>
                        <a:pt x="2385" y="15349"/>
                        <a:pt x="2177" y="15628"/>
                      </a:cubicBezTo>
                      <a:cubicBezTo>
                        <a:pt x="1968" y="15907"/>
                        <a:pt x="763" y="17185"/>
                        <a:pt x="763" y="17185"/>
                      </a:cubicBezTo>
                      <a:lnTo>
                        <a:pt x="3099" y="12729"/>
                      </a:lnTo>
                      <a:cubicBezTo>
                        <a:pt x="3099" y="12729"/>
                        <a:pt x="3692" y="11345"/>
                        <a:pt x="3799" y="11065"/>
                      </a:cubicBezTo>
                      <a:cubicBezTo>
                        <a:pt x="3905" y="10786"/>
                        <a:pt x="4535" y="9598"/>
                        <a:pt x="4535" y="9598"/>
                      </a:cubicBezTo>
                      <a:lnTo>
                        <a:pt x="5019" y="10014"/>
                      </a:lnTo>
                      <a:lnTo>
                        <a:pt x="5444" y="8927"/>
                      </a:lnTo>
                      <a:lnTo>
                        <a:pt x="6073" y="9444"/>
                      </a:lnTo>
                      <a:lnTo>
                        <a:pt x="6486" y="8641"/>
                      </a:lnTo>
                      <a:lnTo>
                        <a:pt x="6805" y="9866"/>
                      </a:lnTo>
                      <a:cubicBezTo>
                        <a:pt x="6805" y="9866"/>
                        <a:pt x="5710" y="11559"/>
                        <a:pt x="5604" y="11934"/>
                      </a:cubicBezTo>
                      <a:cubicBezTo>
                        <a:pt x="5498" y="12309"/>
                        <a:pt x="5710" y="13575"/>
                        <a:pt x="5710" y="13575"/>
                      </a:cubicBezTo>
                      <a:lnTo>
                        <a:pt x="6588" y="13480"/>
                      </a:lnTo>
                      <a:lnTo>
                        <a:pt x="6783" y="11310"/>
                      </a:lnTo>
                      <a:lnTo>
                        <a:pt x="7762" y="11168"/>
                      </a:lnTo>
                      <a:lnTo>
                        <a:pt x="8676" y="11917"/>
                      </a:lnTo>
                      <a:lnTo>
                        <a:pt x="9101" y="10556"/>
                      </a:lnTo>
                      <a:lnTo>
                        <a:pt x="9341" y="9449"/>
                      </a:lnTo>
                      <a:cubicBezTo>
                        <a:pt x="9341" y="9449"/>
                        <a:pt x="10502" y="9883"/>
                        <a:pt x="10502" y="10156"/>
                      </a:cubicBezTo>
                      <a:cubicBezTo>
                        <a:pt x="10502" y="10430"/>
                        <a:pt x="9119" y="12290"/>
                        <a:pt x="8942" y="12664"/>
                      </a:cubicBezTo>
                      <a:cubicBezTo>
                        <a:pt x="8765" y="13039"/>
                        <a:pt x="8340" y="13752"/>
                        <a:pt x="8340" y="14311"/>
                      </a:cubicBezTo>
                      <a:cubicBezTo>
                        <a:pt x="8340" y="14869"/>
                        <a:pt x="8690" y="15154"/>
                        <a:pt x="8690" y="15154"/>
                      </a:cubicBezTo>
                      <a:lnTo>
                        <a:pt x="9962" y="12706"/>
                      </a:lnTo>
                      <a:lnTo>
                        <a:pt x="10871" y="11951"/>
                      </a:lnTo>
                      <a:cubicBezTo>
                        <a:pt x="10871" y="11951"/>
                        <a:pt x="11261" y="11655"/>
                        <a:pt x="11363" y="11381"/>
                      </a:cubicBezTo>
                      <a:cubicBezTo>
                        <a:pt x="11465" y="11107"/>
                        <a:pt x="12383" y="10067"/>
                        <a:pt x="12383" y="10067"/>
                      </a:cubicBezTo>
                      <a:lnTo>
                        <a:pt x="13513" y="7951"/>
                      </a:lnTo>
                      <a:cubicBezTo>
                        <a:pt x="13513" y="7951"/>
                        <a:pt x="13895" y="7143"/>
                        <a:pt x="13615" y="7143"/>
                      </a:cubicBezTo>
                      <a:cubicBezTo>
                        <a:pt x="13335" y="7143"/>
                        <a:pt x="11780" y="7001"/>
                        <a:pt x="11780" y="7001"/>
                      </a:cubicBezTo>
                      <a:lnTo>
                        <a:pt x="9905" y="6858"/>
                      </a:lnTo>
                      <a:cubicBezTo>
                        <a:pt x="9905" y="6858"/>
                        <a:pt x="10579" y="1214"/>
                        <a:pt x="11177" y="607"/>
                      </a:cubicBezTo>
                      <a:cubicBezTo>
                        <a:pt x="11776" y="0"/>
                        <a:pt x="12051" y="0"/>
                        <a:pt x="12051" y="0"/>
                      </a:cubicBezTo>
                      <a:lnTo>
                        <a:pt x="11838" y="1213"/>
                      </a:lnTo>
                      <a:lnTo>
                        <a:pt x="12259" y="1629"/>
                      </a:lnTo>
                      <a:lnTo>
                        <a:pt x="12751" y="1107"/>
                      </a:lnTo>
                      <a:lnTo>
                        <a:pt x="13177" y="114"/>
                      </a:lnTo>
                      <a:lnTo>
                        <a:pt x="13696" y="399"/>
                      </a:lnTo>
                      <a:lnTo>
                        <a:pt x="14507" y="263"/>
                      </a:lnTo>
                      <a:lnTo>
                        <a:pt x="13881" y="1565"/>
                      </a:lnTo>
                      <a:lnTo>
                        <a:pt x="14369" y="1939"/>
                      </a:lnTo>
                      <a:lnTo>
                        <a:pt x="14157" y="3027"/>
                      </a:lnTo>
                      <a:lnTo>
                        <a:pt x="13452" y="3918"/>
                      </a:lnTo>
                      <a:lnTo>
                        <a:pt x="13554" y="5054"/>
                      </a:lnTo>
                      <a:lnTo>
                        <a:pt x="14073" y="4769"/>
                      </a:lnTo>
                      <a:lnTo>
                        <a:pt x="14774" y="3206"/>
                      </a:lnTo>
                      <a:lnTo>
                        <a:pt x="15053" y="4383"/>
                      </a:lnTo>
                      <a:lnTo>
                        <a:pt x="14521" y="6510"/>
                      </a:lnTo>
                      <a:lnTo>
                        <a:pt x="13435" y="9482"/>
                      </a:lnTo>
                      <a:lnTo>
                        <a:pt x="13151" y="11122"/>
                      </a:lnTo>
                      <a:lnTo>
                        <a:pt x="13045" y="12875"/>
                      </a:lnTo>
                      <a:lnTo>
                        <a:pt x="14774" y="11788"/>
                      </a:lnTo>
                      <a:lnTo>
                        <a:pt x="14774" y="10659"/>
                      </a:lnTo>
                      <a:lnTo>
                        <a:pt x="15341" y="8995"/>
                      </a:lnTo>
                      <a:lnTo>
                        <a:pt x="16041" y="8097"/>
                      </a:lnTo>
                      <a:lnTo>
                        <a:pt x="16321" y="7105"/>
                      </a:lnTo>
                      <a:lnTo>
                        <a:pt x="17451" y="5839"/>
                      </a:lnTo>
                      <a:lnTo>
                        <a:pt x="18404" y="6831"/>
                      </a:lnTo>
                      <a:cubicBezTo>
                        <a:pt x="18404" y="6831"/>
                        <a:pt x="18931" y="8447"/>
                        <a:pt x="18829" y="8864"/>
                      </a:cubicBezTo>
                      <a:cubicBezTo>
                        <a:pt x="18727" y="9280"/>
                        <a:pt x="18231" y="10314"/>
                        <a:pt x="18231" y="10314"/>
                      </a:cubicBezTo>
                      <a:cubicBezTo>
                        <a:pt x="18231" y="10314"/>
                        <a:pt x="18443" y="11544"/>
                        <a:pt x="18443" y="11824"/>
                      </a:cubicBezTo>
                      <a:cubicBezTo>
                        <a:pt x="18443" y="12103"/>
                        <a:pt x="18337" y="13417"/>
                        <a:pt x="18337" y="13417"/>
                      </a:cubicBezTo>
                      <a:lnTo>
                        <a:pt x="18762" y="14451"/>
                      </a:lnTo>
                      <a:lnTo>
                        <a:pt x="19081" y="15824"/>
                      </a:lnTo>
                      <a:lnTo>
                        <a:pt x="19959" y="15729"/>
                      </a:lnTo>
                      <a:lnTo>
                        <a:pt x="19959" y="14505"/>
                      </a:lnTo>
                      <a:cubicBezTo>
                        <a:pt x="19959" y="14505"/>
                        <a:pt x="19006" y="13216"/>
                        <a:pt x="19006" y="12942"/>
                      </a:cubicBezTo>
                      <a:cubicBezTo>
                        <a:pt x="19006" y="12668"/>
                        <a:pt x="19499" y="12383"/>
                        <a:pt x="19499" y="12383"/>
                      </a:cubicBezTo>
                      <a:cubicBezTo>
                        <a:pt x="19499" y="12383"/>
                        <a:pt x="20261" y="11592"/>
                        <a:pt x="19880" y="11497"/>
                      </a:cubicBezTo>
                      <a:cubicBezTo>
                        <a:pt x="19499" y="11402"/>
                        <a:pt x="18789" y="10868"/>
                        <a:pt x="18789" y="10594"/>
                      </a:cubicBezTo>
                      <a:cubicBezTo>
                        <a:pt x="18789" y="10320"/>
                        <a:pt x="19742" y="9755"/>
                        <a:pt x="19742" y="9755"/>
                      </a:cubicBezTo>
                      <a:lnTo>
                        <a:pt x="20682" y="10320"/>
                      </a:lnTo>
                      <a:lnTo>
                        <a:pt x="21139" y="9666"/>
                      </a:lnTo>
                      <a:lnTo>
                        <a:pt x="21210" y="13558"/>
                      </a:lnTo>
                      <a:cubicBezTo>
                        <a:pt x="21210" y="13558"/>
                        <a:pt x="21600" y="16219"/>
                        <a:pt x="21600" y="16499"/>
                      </a:cubicBezTo>
                      <a:cubicBezTo>
                        <a:pt x="21600" y="16778"/>
                        <a:pt x="21600" y="20385"/>
                        <a:pt x="21600" y="20385"/>
                      </a:cubicBezTo>
                      <a:lnTo>
                        <a:pt x="21277" y="21600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65" name="i$ḻíḑê">
                  <a:extLst>
                    <a:ext uri="{FF2B5EF4-FFF2-40B4-BE49-F238E27FC236}">
                      <a16:creationId xmlns:a16="http://schemas.microsoft.com/office/drawing/2014/main" id="{574AAD7B-9ECE-4866-9C9D-20AD482DA5DE}"/>
                    </a:ext>
                  </a:extLst>
                </p:cNvPr>
                <p:cNvSpPr/>
                <p:nvPr/>
              </p:nvSpPr>
              <p:spPr>
                <a:xfrm>
                  <a:off x="3197337" y="300323"/>
                  <a:ext cx="396800" cy="115990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314" y="0"/>
                      </a:moveTo>
                      <a:lnTo>
                        <a:pt x="12196" y="5397"/>
                      </a:lnTo>
                      <a:lnTo>
                        <a:pt x="16312" y="8504"/>
                      </a:lnTo>
                      <a:lnTo>
                        <a:pt x="21600" y="12014"/>
                      </a:lnTo>
                      <a:lnTo>
                        <a:pt x="21600" y="16014"/>
                      </a:lnTo>
                      <a:lnTo>
                        <a:pt x="16312" y="19523"/>
                      </a:lnTo>
                      <a:lnTo>
                        <a:pt x="11644" y="21600"/>
                      </a:lnTo>
                      <a:lnTo>
                        <a:pt x="9037" y="19813"/>
                      </a:lnTo>
                      <a:lnTo>
                        <a:pt x="14289" y="16002"/>
                      </a:lnTo>
                      <a:cubicBezTo>
                        <a:pt x="14289" y="16002"/>
                        <a:pt x="15171" y="13977"/>
                        <a:pt x="15171" y="13386"/>
                      </a:cubicBezTo>
                      <a:cubicBezTo>
                        <a:pt x="15171" y="12795"/>
                        <a:pt x="12563" y="11586"/>
                        <a:pt x="12563" y="10995"/>
                      </a:cubicBezTo>
                      <a:cubicBezTo>
                        <a:pt x="12563" y="10404"/>
                        <a:pt x="4958" y="10493"/>
                        <a:pt x="4958" y="8291"/>
                      </a:cubicBezTo>
                      <a:cubicBezTo>
                        <a:pt x="4958" y="6090"/>
                        <a:pt x="4079" y="4693"/>
                        <a:pt x="4079" y="4693"/>
                      </a:cubicBezTo>
                      <a:lnTo>
                        <a:pt x="0" y="1611"/>
                      </a:lnTo>
                      <a:lnTo>
                        <a:pt x="2314" y="0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66" name="iśḻîďe">
                  <a:extLst>
                    <a:ext uri="{FF2B5EF4-FFF2-40B4-BE49-F238E27FC236}">
                      <a16:creationId xmlns:a16="http://schemas.microsoft.com/office/drawing/2014/main" id="{C2F49DBF-0AE9-4F67-B3D2-16AB3CC7D400}"/>
                    </a:ext>
                  </a:extLst>
                </p:cNvPr>
                <p:cNvSpPr/>
                <p:nvPr/>
              </p:nvSpPr>
              <p:spPr>
                <a:xfrm>
                  <a:off x="3131275" y="942667"/>
                  <a:ext cx="214582" cy="53293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928" y="655"/>
                      </a:moveTo>
                      <a:lnTo>
                        <a:pt x="21600" y="0"/>
                      </a:lnTo>
                      <a:lnTo>
                        <a:pt x="21600" y="6954"/>
                      </a:lnTo>
                      <a:lnTo>
                        <a:pt x="13997" y="21600"/>
                      </a:lnTo>
                      <a:lnTo>
                        <a:pt x="0" y="17851"/>
                      </a:lnTo>
                      <a:lnTo>
                        <a:pt x="1626" y="2821"/>
                      </a:lnTo>
                      <a:lnTo>
                        <a:pt x="5366" y="13251"/>
                      </a:lnTo>
                      <a:lnTo>
                        <a:pt x="11210" y="7225"/>
                      </a:lnTo>
                      <a:lnTo>
                        <a:pt x="10928" y="655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67" name="i$ḷíďe">
                  <a:extLst>
                    <a:ext uri="{FF2B5EF4-FFF2-40B4-BE49-F238E27FC236}">
                      <a16:creationId xmlns:a16="http://schemas.microsoft.com/office/drawing/2014/main" id="{50BD689B-1E15-4A7E-BA3C-B03CDFD5B899}"/>
                    </a:ext>
                  </a:extLst>
                </p:cNvPr>
                <p:cNvSpPr/>
                <p:nvPr/>
              </p:nvSpPr>
              <p:spPr>
                <a:xfrm>
                  <a:off x="2702539" y="170493"/>
                  <a:ext cx="251681" cy="74512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278" y="0"/>
                      </a:moveTo>
                      <a:lnTo>
                        <a:pt x="13893" y="7460"/>
                      </a:lnTo>
                      <a:lnTo>
                        <a:pt x="12501" y="12279"/>
                      </a:lnTo>
                      <a:lnTo>
                        <a:pt x="20266" y="14434"/>
                      </a:lnTo>
                      <a:lnTo>
                        <a:pt x="21600" y="21600"/>
                      </a:lnTo>
                      <a:lnTo>
                        <a:pt x="11412" y="17565"/>
                      </a:lnTo>
                      <a:lnTo>
                        <a:pt x="3075" y="12260"/>
                      </a:lnTo>
                      <a:lnTo>
                        <a:pt x="7243" y="7737"/>
                      </a:lnTo>
                      <a:lnTo>
                        <a:pt x="0" y="4974"/>
                      </a:lnTo>
                      <a:lnTo>
                        <a:pt x="4278" y="0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68" name="işḷiḋé">
                  <a:extLst>
                    <a:ext uri="{FF2B5EF4-FFF2-40B4-BE49-F238E27FC236}">
                      <a16:creationId xmlns:a16="http://schemas.microsoft.com/office/drawing/2014/main" id="{92047AFD-AA30-44CF-A1FB-D4472D4827D9}"/>
                    </a:ext>
                  </a:extLst>
                </p:cNvPr>
                <p:cNvSpPr/>
                <p:nvPr/>
              </p:nvSpPr>
              <p:spPr>
                <a:xfrm>
                  <a:off x="2237675" y="337096"/>
                  <a:ext cx="762084" cy="105116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5986" y="4859"/>
                      </a:moveTo>
                      <a:lnTo>
                        <a:pt x="6884" y="0"/>
                      </a:lnTo>
                      <a:lnTo>
                        <a:pt x="9754" y="5387"/>
                      </a:lnTo>
                      <a:lnTo>
                        <a:pt x="9295" y="10037"/>
                      </a:lnTo>
                      <a:lnTo>
                        <a:pt x="11895" y="12022"/>
                      </a:lnTo>
                      <a:lnTo>
                        <a:pt x="14136" y="8150"/>
                      </a:lnTo>
                      <a:lnTo>
                        <a:pt x="16394" y="11217"/>
                      </a:lnTo>
                      <a:lnTo>
                        <a:pt x="16394" y="14522"/>
                      </a:lnTo>
                      <a:lnTo>
                        <a:pt x="19361" y="14842"/>
                      </a:lnTo>
                      <a:lnTo>
                        <a:pt x="21600" y="14189"/>
                      </a:lnTo>
                      <a:lnTo>
                        <a:pt x="21600" y="18922"/>
                      </a:lnTo>
                      <a:lnTo>
                        <a:pt x="20665" y="21600"/>
                      </a:lnTo>
                      <a:lnTo>
                        <a:pt x="16571" y="19713"/>
                      </a:lnTo>
                      <a:lnTo>
                        <a:pt x="12764" y="15104"/>
                      </a:lnTo>
                      <a:lnTo>
                        <a:pt x="9032" y="12590"/>
                      </a:lnTo>
                      <a:lnTo>
                        <a:pt x="5856" y="8659"/>
                      </a:lnTo>
                      <a:lnTo>
                        <a:pt x="900" y="7451"/>
                      </a:lnTo>
                      <a:lnTo>
                        <a:pt x="0" y="3691"/>
                      </a:lnTo>
                      <a:lnTo>
                        <a:pt x="2564" y="1065"/>
                      </a:lnTo>
                      <a:lnTo>
                        <a:pt x="5986" y="4859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69" name="ïṣ1îḍê">
                  <a:extLst>
                    <a:ext uri="{FF2B5EF4-FFF2-40B4-BE49-F238E27FC236}">
                      <a16:creationId xmlns:a16="http://schemas.microsoft.com/office/drawing/2014/main" id="{E005C5DA-88F4-4826-83BC-A37BFA3678C2}"/>
                    </a:ext>
                  </a:extLst>
                </p:cNvPr>
                <p:cNvSpPr/>
                <p:nvPr/>
              </p:nvSpPr>
              <p:spPr>
                <a:xfrm>
                  <a:off x="2290378" y="858363"/>
                  <a:ext cx="352354" cy="65936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11211" y="2479"/>
                      </a:lnTo>
                      <a:lnTo>
                        <a:pt x="17707" y="8610"/>
                      </a:lnTo>
                      <a:lnTo>
                        <a:pt x="21600" y="13835"/>
                      </a:lnTo>
                      <a:lnTo>
                        <a:pt x="15023" y="16821"/>
                      </a:lnTo>
                      <a:lnTo>
                        <a:pt x="7452" y="21600"/>
                      </a:lnTo>
                      <a:lnTo>
                        <a:pt x="7452" y="15979"/>
                      </a:lnTo>
                      <a:lnTo>
                        <a:pt x="11673" y="13231"/>
                      </a:lnTo>
                      <a:lnTo>
                        <a:pt x="10020" y="6302"/>
                      </a:lnTo>
                      <a:lnTo>
                        <a:pt x="2278" y="386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70" name="iṧlîḋe">
                  <a:extLst>
                    <a:ext uri="{FF2B5EF4-FFF2-40B4-BE49-F238E27FC236}">
                      <a16:creationId xmlns:a16="http://schemas.microsoft.com/office/drawing/2014/main" id="{87B0239A-D880-4B24-9A6E-5155350D71B6}"/>
                    </a:ext>
                  </a:extLst>
                </p:cNvPr>
                <p:cNvSpPr/>
                <p:nvPr/>
              </p:nvSpPr>
              <p:spPr>
                <a:xfrm>
                  <a:off x="4046432" y="640520"/>
                  <a:ext cx="262488" cy="58156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6324" y="0"/>
                      </a:moveTo>
                      <a:lnTo>
                        <a:pt x="21600" y="9985"/>
                      </a:lnTo>
                      <a:lnTo>
                        <a:pt x="17603" y="21600"/>
                      </a:lnTo>
                      <a:lnTo>
                        <a:pt x="12276" y="12121"/>
                      </a:lnTo>
                      <a:lnTo>
                        <a:pt x="6056" y="20124"/>
                      </a:lnTo>
                      <a:lnTo>
                        <a:pt x="2168" y="16986"/>
                      </a:lnTo>
                      <a:lnTo>
                        <a:pt x="0" y="5371"/>
                      </a:lnTo>
                      <a:lnTo>
                        <a:pt x="7780" y="7554"/>
                      </a:lnTo>
                      <a:lnTo>
                        <a:pt x="16324" y="0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71" name="ïṥ1îḋè">
                  <a:extLst>
                    <a:ext uri="{FF2B5EF4-FFF2-40B4-BE49-F238E27FC236}">
                      <a16:creationId xmlns:a16="http://schemas.microsoft.com/office/drawing/2014/main" id="{25BB1AC9-5350-4306-9978-597065B1764D}"/>
                    </a:ext>
                  </a:extLst>
                </p:cNvPr>
                <p:cNvSpPr/>
                <p:nvPr/>
              </p:nvSpPr>
              <p:spPr>
                <a:xfrm>
                  <a:off x="4052202" y="1461137"/>
                  <a:ext cx="142991" cy="21608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7589" h="21600" extrusionOk="0">
                      <a:moveTo>
                        <a:pt x="5796" y="0"/>
                      </a:moveTo>
                      <a:cubicBezTo>
                        <a:pt x="5796" y="0"/>
                        <a:pt x="-4011" y="16745"/>
                        <a:pt x="1889" y="18362"/>
                      </a:cubicBezTo>
                      <a:cubicBezTo>
                        <a:pt x="7790" y="19978"/>
                        <a:pt x="13683" y="21600"/>
                        <a:pt x="13683" y="21600"/>
                      </a:cubicBezTo>
                      <a:lnTo>
                        <a:pt x="17589" y="10931"/>
                      </a:lnTo>
                      <a:lnTo>
                        <a:pt x="5796" y="0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72" name="iśľiḑe">
                  <a:extLst>
                    <a:ext uri="{FF2B5EF4-FFF2-40B4-BE49-F238E27FC236}">
                      <a16:creationId xmlns:a16="http://schemas.microsoft.com/office/drawing/2014/main" id="{7719BFCA-470D-4884-A01A-0A61D0A7E834}"/>
                    </a:ext>
                  </a:extLst>
                </p:cNvPr>
                <p:cNvSpPr/>
                <p:nvPr/>
              </p:nvSpPr>
              <p:spPr>
                <a:xfrm>
                  <a:off x="4629757" y="1007704"/>
                  <a:ext cx="307847" cy="47221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1829"/>
                      </a:moveTo>
                      <a:lnTo>
                        <a:pt x="21600" y="21600"/>
                      </a:lnTo>
                      <a:lnTo>
                        <a:pt x="8346" y="0"/>
                      </a:lnTo>
                      <a:lnTo>
                        <a:pt x="0" y="1829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73" name="išḻíḓe">
                  <a:extLst>
                    <a:ext uri="{FF2B5EF4-FFF2-40B4-BE49-F238E27FC236}">
                      <a16:creationId xmlns:a16="http://schemas.microsoft.com/office/drawing/2014/main" id="{B71380B0-BC3C-487C-A486-629B0913E8B6}"/>
                    </a:ext>
                  </a:extLst>
                </p:cNvPr>
                <p:cNvSpPr/>
                <p:nvPr/>
              </p:nvSpPr>
              <p:spPr>
                <a:xfrm>
                  <a:off x="5926593" y="2257078"/>
                  <a:ext cx="598688" cy="77345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013" y="3264"/>
                      </a:moveTo>
                      <a:lnTo>
                        <a:pt x="6013" y="0"/>
                      </a:lnTo>
                      <a:lnTo>
                        <a:pt x="0" y="0"/>
                      </a:lnTo>
                      <a:lnTo>
                        <a:pt x="0" y="7810"/>
                      </a:lnTo>
                      <a:lnTo>
                        <a:pt x="1168" y="13809"/>
                      </a:lnTo>
                      <a:lnTo>
                        <a:pt x="7525" y="18636"/>
                      </a:lnTo>
                      <a:lnTo>
                        <a:pt x="11302" y="21600"/>
                      </a:lnTo>
                      <a:lnTo>
                        <a:pt x="18336" y="20561"/>
                      </a:lnTo>
                      <a:lnTo>
                        <a:pt x="21015" y="18034"/>
                      </a:lnTo>
                      <a:lnTo>
                        <a:pt x="21600" y="12789"/>
                      </a:lnTo>
                      <a:lnTo>
                        <a:pt x="20042" y="7525"/>
                      </a:lnTo>
                      <a:lnTo>
                        <a:pt x="18312" y="14961"/>
                      </a:lnTo>
                      <a:lnTo>
                        <a:pt x="16754" y="17604"/>
                      </a:lnTo>
                      <a:lnTo>
                        <a:pt x="15587" y="10531"/>
                      </a:lnTo>
                      <a:lnTo>
                        <a:pt x="12734" y="7550"/>
                      </a:lnTo>
                      <a:lnTo>
                        <a:pt x="8086" y="11605"/>
                      </a:lnTo>
                      <a:lnTo>
                        <a:pt x="5967" y="9983"/>
                      </a:lnTo>
                      <a:lnTo>
                        <a:pt x="11543" y="3868"/>
                      </a:lnTo>
                      <a:lnTo>
                        <a:pt x="8498" y="1944"/>
                      </a:lnTo>
                      <a:lnTo>
                        <a:pt x="6013" y="3264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74" name="îsḻíḑê">
                  <a:extLst>
                    <a:ext uri="{FF2B5EF4-FFF2-40B4-BE49-F238E27FC236}">
                      <a16:creationId xmlns:a16="http://schemas.microsoft.com/office/drawing/2014/main" id="{E332446B-93C3-4DBC-A2EC-94AF3D94DF9C}"/>
                    </a:ext>
                  </a:extLst>
                </p:cNvPr>
                <p:cNvSpPr/>
                <p:nvPr/>
              </p:nvSpPr>
              <p:spPr>
                <a:xfrm>
                  <a:off x="6431593" y="2273063"/>
                  <a:ext cx="325331" cy="70191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11780" y="7588"/>
                      </a:lnTo>
                      <a:lnTo>
                        <a:pt x="12856" y="15861"/>
                      </a:lnTo>
                      <a:lnTo>
                        <a:pt x="13888" y="21102"/>
                      </a:lnTo>
                      <a:lnTo>
                        <a:pt x="20524" y="21600"/>
                      </a:lnTo>
                      <a:cubicBezTo>
                        <a:pt x="20524" y="21600"/>
                        <a:pt x="21600" y="15450"/>
                        <a:pt x="21600" y="13993"/>
                      </a:cubicBezTo>
                      <a:cubicBezTo>
                        <a:pt x="21600" y="12536"/>
                        <a:pt x="21600" y="6404"/>
                        <a:pt x="21600" y="6404"/>
                      </a:cubicBezTo>
                      <a:lnTo>
                        <a:pt x="15150" y="3432"/>
                      </a:lnTo>
                      <a:lnTo>
                        <a:pt x="8829" y="247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  <p:sp>
              <p:nvSpPr>
                <p:cNvPr id="175" name="ïṥḻïḍe">
                  <a:extLst>
                    <a:ext uri="{FF2B5EF4-FFF2-40B4-BE49-F238E27FC236}">
                      <a16:creationId xmlns:a16="http://schemas.microsoft.com/office/drawing/2014/main" id="{75D95991-E52A-4B40-B7A1-2D41A41A1EAF}"/>
                    </a:ext>
                  </a:extLst>
                </p:cNvPr>
                <p:cNvSpPr/>
                <p:nvPr/>
              </p:nvSpPr>
              <p:spPr>
                <a:xfrm>
                  <a:off x="4378017" y="755520"/>
                  <a:ext cx="210089" cy="64982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994" y="0"/>
                      </a:moveTo>
                      <a:lnTo>
                        <a:pt x="0" y="15424"/>
                      </a:lnTo>
                      <a:lnTo>
                        <a:pt x="10769" y="16501"/>
                      </a:lnTo>
                      <a:lnTo>
                        <a:pt x="10144" y="21600"/>
                      </a:lnTo>
                      <a:lnTo>
                        <a:pt x="21600" y="20523"/>
                      </a:lnTo>
                      <a:lnTo>
                        <a:pt x="10925" y="9411"/>
                      </a:lnTo>
                      <a:lnTo>
                        <a:pt x="4994" y="0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/>
                    <a:ea typeface="微软雅黑"/>
                  </a:endParaRPr>
                </a:p>
              </p:txBody>
            </p:sp>
          </p:grpSp>
          <p:sp>
            <p:nvSpPr>
              <p:cNvPr id="162" name="ïṩ1íḋè">
                <a:extLst>
                  <a:ext uri="{FF2B5EF4-FFF2-40B4-BE49-F238E27FC236}">
                    <a16:creationId xmlns:a16="http://schemas.microsoft.com/office/drawing/2014/main" id="{54CBF18D-3984-404B-B11A-C29E4F555E3B}"/>
                  </a:ext>
                </a:extLst>
              </p:cNvPr>
              <p:cNvSpPr/>
              <p:nvPr/>
            </p:nvSpPr>
            <p:spPr>
              <a:xfrm>
                <a:off x="3364071" y="1776645"/>
                <a:ext cx="2441728" cy="14305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16" y="11035"/>
                    </a:moveTo>
                    <a:lnTo>
                      <a:pt x="309" y="21600"/>
                    </a:lnTo>
                    <a:lnTo>
                      <a:pt x="2131" y="21355"/>
                    </a:lnTo>
                    <a:cubicBezTo>
                      <a:pt x="2131" y="21355"/>
                      <a:pt x="4206" y="20144"/>
                      <a:pt x="4505" y="20144"/>
                    </a:cubicBezTo>
                    <a:cubicBezTo>
                      <a:pt x="4805" y="20144"/>
                      <a:pt x="8166" y="20144"/>
                      <a:pt x="8166" y="20144"/>
                    </a:cubicBezTo>
                    <a:lnTo>
                      <a:pt x="11012" y="20389"/>
                    </a:lnTo>
                    <a:lnTo>
                      <a:pt x="14756" y="20155"/>
                    </a:lnTo>
                    <a:lnTo>
                      <a:pt x="17188" y="19910"/>
                    </a:lnTo>
                    <a:lnTo>
                      <a:pt x="20084" y="19665"/>
                    </a:lnTo>
                    <a:lnTo>
                      <a:pt x="20084" y="18454"/>
                    </a:lnTo>
                    <a:lnTo>
                      <a:pt x="21600" y="16673"/>
                    </a:lnTo>
                    <a:lnTo>
                      <a:pt x="20683" y="13598"/>
                    </a:lnTo>
                    <a:lnTo>
                      <a:pt x="18149" y="9536"/>
                    </a:lnTo>
                    <a:lnTo>
                      <a:pt x="18862" y="14412"/>
                    </a:lnTo>
                    <a:lnTo>
                      <a:pt x="19505" y="15360"/>
                    </a:lnTo>
                    <a:lnTo>
                      <a:pt x="18793" y="16969"/>
                    </a:lnTo>
                    <a:lnTo>
                      <a:pt x="17888" y="16633"/>
                    </a:lnTo>
                    <a:lnTo>
                      <a:pt x="16825" y="15259"/>
                    </a:lnTo>
                    <a:lnTo>
                      <a:pt x="15762" y="16236"/>
                    </a:lnTo>
                    <a:lnTo>
                      <a:pt x="15310" y="17213"/>
                    </a:lnTo>
                    <a:lnTo>
                      <a:pt x="12865" y="17295"/>
                    </a:lnTo>
                    <a:cubicBezTo>
                      <a:pt x="12865" y="17295"/>
                      <a:pt x="12521" y="15656"/>
                      <a:pt x="12967" y="15187"/>
                    </a:cubicBezTo>
                    <a:cubicBezTo>
                      <a:pt x="13413" y="14718"/>
                      <a:pt x="14285" y="14240"/>
                      <a:pt x="14686" y="14240"/>
                    </a:cubicBezTo>
                    <a:cubicBezTo>
                      <a:pt x="15088" y="14240"/>
                      <a:pt x="15699" y="13099"/>
                      <a:pt x="15699" y="13099"/>
                    </a:cubicBezTo>
                    <a:lnTo>
                      <a:pt x="15546" y="11236"/>
                    </a:lnTo>
                    <a:lnTo>
                      <a:pt x="12949" y="10748"/>
                    </a:lnTo>
                    <a:lnTo>
                      <a:pt x="12796" y="8875"/>
                    </a:lnTo>
                    <a:lnTo>
                      <a:pt x="11020" y="7908"/>
                    </a:lnTo>
                    <a:cubicBezTo>
                      <a:pt x="11020" y="7908"/>
                      <a:pt x="11166" y="8693"/>
                      <a:pt x="11313" y="9100"/>
                    </a:cubicBezTo>
                    <a:cubicBezTo>
                      <a:pt x="11460" y="9507"/>
                      <a:pt x="11912" y="12907"/>
                      <a:pt x="11912" y="12907"/>
                    </a:cubicBezTo>
                    <a:lnTo>
                      <a:pt x="11453" y="16298"/>
                    </a:lnTo>
                    <a:lnTo>
                      <a:pt x="10129" y="17418"/>
                    </a:lnTo>
                    <a:cubicBezTo>
                      <a:pt x="10129" y="17418"/>
                      <a:pt x="9524" y="17390"/>
                      <a:pt x="9524" y="16197"/>
                    </a:cubicBezTo>
                    <a:cubicBezTo>
                      <a:pt x="9524" y="15005"/>
                      <a:pt x="9524" y="14272"/>
                      <a:pt x="9524" y="14272"/>
                    </a:cubicBezTo>
                    <a:cubicBezTo>
                      <a:pt x="9524" y="14272"/>
                      <a:pt x="8754" y="13549"/>
                      <a:pt x="8149" y="13549"/>
                    </a:cubicBezTo>
                    <a:cubicBezTo>
                      <a:pt x="8149" y="13549"/>
                      <a:pt x="7245" y="11758"/>
                      <a:pt x="7092" y="11116"/>
                    </a:cubicBezTo>
                    <a:cubicBezTo>
                      <a:pt x="6940" y="10474"/>
                      <a:pt x="6679" y="9569"/>
                      <a:pt x="6227" y="8602"/>
                    </a:cubicBezTo>
                    <a:cubicBezTo>
                      <a:pt x="5775" y="7634"/>
                      <a:pt x="5316" y="6648"/>
                      <a:pt x="5316" y="6169"/>
                    </a:cubicBezTo>
                    <a:cubicBezTo>
                      <a:pt x="5316" y="5689"/>
                      <a:pt x="5322" y="3267"/>
                      <a:pt x="4870" y="3267"/>
                    </a:cubicBezTo>
                    <a:cubicBezTo>
                      <a:pt x="4418" y="3267"/>
                      <a:pt x="2992" y="4162"/>
                      <a:pt x="2992" y="4162"/>
                    </a:cubicBezTo>
                    <a:lnTo>
                      <a:pt x="2178" y="5953"/>
                    </a:lnTo>
                    <a:lnTo>
                      <a:pt x="1222" y="5436"/>
                    </a:lnTo>
                    <a:lnTo>
                      <a:pt x="0" y="0"/>
                    </a:lnTo>
                    <a:lnTo>
                      <a:pt x="316" y="11035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5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</p:grpSp>
        <p:sp>
          <p:nvSpPr>
            <p:cNvPr id="144" name="ïṩḷíde">
              <a:extLst>
                <a:ext uri="{FF2B5EF4-FFF2-40B4-BE49-F238E27FC236}">
                  <a16:creationId xmlns:a16="http://schemas.microsoft.com/office/drawing/2014/main" id="{7C7A6391-B796-4818-AB37-9BEB0172B592}"/>
                </a:ext>
              </a:extLst>
            </p:cNvPr>
            <p:cNvSpPr/>
            <p:nvPr/>
          </p:nvSpPr>
          <p:spPr>
            <a:xfrm>
              <a:off x="3486142" y="2290053"/>
              <a:ext cx="2394656" cy="335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701" h="16978" extrusionOk="0">
                  <a:moveTo>
                    <a:pt x="3161" y="0"/>
                  </a:moveTo>
                  <a:cubicBezTo>
                    <a:pt x="3161" y="0"/>
                    <a:pt x="-1421" y="5515"/>
                    <a:pt x="6377" y="10491"/>
                  </a:cubicBezTo>
                  <a:cubicBezTo>
                    <a:pt x="14175" y="15467"/>
                    <a:pt x="19701" y="12322"/>
                    <a:pt x="19701" y="12322"/>
                  </a:cubicBezTo>
                  <a:cubicBezTo>
                    <a:pt x="19701" y="12322"/>
                    <a:pt x="6838" y="21600"/>
                    <a:pt x="2470" y="13963"/>
                  </a:cubicBezTo>
                  <a:cubicBezTo>
                    <a:pt x="-1899" y="6326"/>
                    <a:pt x="295" y="1072"/>
                    <a:pt x="3161" y="0"/>
                  </a:cubicBez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 w="25400">
              <a:solidFill>
                <a:srgbClr val="000000">
                  <a:alpha val="0"/>
                </a:srgbClr>
              </a:solidFill>
              <a:miter lim="400000"/>
            </a:ln>
          </p:spPr>
          <p:txBody>
            <a:bodyPr anchor="ctr"/>
            <a:lstStyle/>
            <a:p>
              <a:pPr algn="ctr" defTabSz="914400"/>
              <a:endParaRPr>
                <a:solidFill>
                  <a:srgbClr val="575757"/>
                </a:solidFill>
                <a:latin typeface="Trebuchet MS"/>
                <a:ea typeface="微软雅黑"/>
              </a:endParaRPr>
            </a:p>
          </p:txBody>
        </p:sp>
        <p:sp>
          <p:nvSpPr>
            <p:cNvPr id="145" name="iṧ1ïḍé">
              <a:extLst>
                <a:ext uri="{FF2B5EF4-FFF2-40B4-BE49-F238E27FC236}">
                  <a16:creationId xmlns:a16="http://schemas.microsoft.com/office/drawing/2014/main" id="{C52AAADC-F050-4F0B-B1B2-430460B8EB8A}"/>
                </a:ext>
              </a:extLst>
            </p:cNvPr>
            <p:cNvSpPr/>
            <p:nvPr/>
          </p:nvSpPr>
          <p:spPr>
            <a:xfrm>
              <a:off x="5344826" y="2342312"/>
              <a:ext cx="2668865" cy="3647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03" h="20158" extrusionOk="0">
                  <a:moveTo>
                    <a:pt x="7" y="20157"/>
                  </a:moveTo>
                  <a:cubicBezTo>
                    <a:pt x="-396" y="20298"/>
                    <a:pt x="18426" y="9937"/>
                    <a:pt x="17517" y="4317"/>
                  </a:cubicBezTo>
                  <a:cubicBezTo>
                    <a:pt x="16607" y="-1302"/>
                    <a:pt x="16548" y="176"/>
                    <a:pt x="16548" y="176"/>
                  </a:cubicBezTo>
                  <a:cubicBezTo>
                    <a:pt x="16548" y="176"/>
                    <a:pt x="18797" y="575"/>
                    <a:pt x="18816" y="3608"/>
                  </a:cubicBezTo>
                  <a:cubicBezTo>
                    <a:pt x="18835" y="6642"/>
                    <a:pt x="21204" y="12710"/>
                    <a:pt x="7" y="20157"/>
                  </a:cubicBez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 w="25400">
              <a:solidFill>
                <a:srgbClr val="000000">
                  <a:alpha val="0"/>
                </a:srgbClr>
              </a:solidFill>
              <a:miter lim="400000"/>
            </a:ln>
          </p:spPr>
          <p:txBody>
            <a:bodyPr anchor="ctr"/>
            <a:lstStyle/>
            <a:p>
              <a:pPr algn="ctr" defTabSz="914400"/>
              <a:endParaRPr>
                <a:solidFill>
                  <a:srgbClr val="575757"/>
                </a:solidFill>
                <a:latin typeface="Trebuchet MS"/>
                <a:ea typeface="微软雅黑"/>
              </a:endParaRPr>
            </a:p>
          </p:txBody>
        </p:sp>
        <p:sp>
          <p:nvSpPr>
            <p:cNvPr id="146" name="iš1iďe">
              <a:extLst>
                <a:ext uri="{FF2B5EF4-FFF2-40B4-BE49-F238E27FC236}">
                  <a16:creationId xmlns:a16="http://schemas.microsoft.com/office/drawing/2014/main" id="{46F8A3F8-67E0-425A-B2EA-5FB1C784AB14}"/>
                </a:ext>
              </a:extLst>
            </p:cNvPr>
            <p:cNvSpPr/>
            <p:nvPr/>
          </p:nvSpPr>
          <p:spPr>
            <a:xfrm>
              <a:off x="4590877" y="2730355"/>
              <a:ext cx="2630953" cy="1555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66" h="11685" extrusionOk="0">
                  <a:moveTo>
                    <a:pt x="12" y="6066"/>
                  </a:moveTo>
                  <a:cubicBezTo>
                    <a:pt x="-334" y="5624"/>
                    <a:pt x="7152" y="10914"/>
                    <a:pt x="13688" y="6066"/>
                  </a:cubicBezTo>
                  <a:cubicBezTo>
                    <a:pt x="20224" y="1217"/>
                    <a:pt x="21266" y="0"/>
                    <a:pt x="21266" y="0"/>
                  </a:cubicBezTo>
                  <a:cubicBezTo>
                    <a:pt x="21266" y="0"/>
                    <a:pt x="12181" y="21600"/>
                    <a:pt x="12" y="6066"/>
                  </a:cubicBez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 w="25400">
              <a:solidFill>
                <a:srgbClr val="000000">
                  <a:alpha val="0"/>
                </a:srgbClr>
              </a:solidFill>
              <a:miter lim="400000"/>
            </a:ln>
          </p:spPr>
          <p:txBody>
            <a:bodyPr anchor="ctr"/>
            <a:lstStyle/>
            <a:p>
              <a:pPr algn="ctr" defTabSz="914400"/>
              <a:endParaRPr>
                <a:solidFill>
                  <a:srgbClr val="575757"/>
                </a:solidFill>
                <a:latin typeface="Trebuchet MS"/>
                <a:ea typeface="微软雅黑"/>
              </a:endParaRPr>
            </a:p>
          </p:txBody>
        </p:sp>
        <p:grpSp>
          <p:nvGrpSpPr>
            <p:cNvPr id="147" name="íṣḷiḑè">
              <a:extLst>
                <a:ext uri="{FF2B5EF4-FFF2-40B4-BE49-F238E27FC236}">
                  <a16:creationId xmlns:a16="http://schemas.microsoft.com/office/drawing/2014/main" id="{0F9ED766-B993-4543-A820-65584D50BF7B}"/>
                </a:ext>
              </a:extLst>
            </p:cNvPr>
            <p:cNvGrpSpPr/>
            <p:nvPr/>
          </p:nvGrpSpPr>
          <p:grpSpPr>
            <a:xfrm>
              <a:off x="7829551" y="1936751"/>
              <a:ext cx="869952" cy="521062"/>
              <a:chOff x="0" y="0"/>
              <a:chExt cx="1739901" cy="1042121"/>
            </a:xfrm>
          </p:grpSpPr>
          <p:sp>
            <p:nvSpPr>
              <p:cNvPr id="148" name="íṣḻiḑé">
                <a:extLst>
                  <a:ext uri="{FF2B5EF4-FFF2-40B4-BE49-F238E27FC236}">
                    <a16:creationId xmlns:a16="http://schemas.microsoft.com/office/drawing/2014/main" id="{6E6EAAAD-F558-44D6-93C8-BB7E13071582}"/>
                  </a:ext>
                </a:extLst>
              </p:cNvPr>
              <p:cNvSpPr/>
              <p:nvPr/>
            </p:nvSpPr>
            <p:spPr>
              <a:xfrm>
                <a:off x="0" y="0"/>
                <a:ext cx="1739901" cy="104212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9847"/>
                    </a:moveTo>
                    <a:lnTo>
                      <a:pt x="1796" y="20374"/>
                    </a:lnTo>
                    <a:cubicBezTo>
                      <a:pt x="1796" y="20374"/>
                      <a:pt x="3515" y="20662"/>
                      <a:pt x="3610" y="20764"/>
                    </a:cubicBezTo>
                    <a:cubicBezTo>
                      <a:pt x="3704" y="20865"/>
                      <a:pt x="5402" y="20971"/>
                      <a:pt x="5402" y="20971"/>
                    </a:cubicBezTo>
                    <a:cubicBezTo>
                      <a:pt x="5402" y="20971"/>
                      <a:pt x="6612" y="21078"/>
                      <a:pt x="6708" y="21078"/>
                    </a:cubicBezTo>
                    <a:cubicBezTo>
                      <a:pt x="6804" y="21078"/>
                      <a:pt x="8782" y="21219"/>
                      <a:pt x="8782" y="21219"/>
                    </a:cubicBezTo>
                    <a:lnTo>
                      <a:pt x="9857" y="21529"/>
                    </a:lnTo>
                    <a:lnTo>
                      <a:pt x="10574" y="21600"/>
                    </a:lnTo>
                    <a:lnTo>
                      <a:pt x="14169" y="21356"/>
                    </a:lnTo>
                    <a:lnTo>
                      <a:pt x="15332" y="21144"/>
                    </a:lnTo>
                    <a:cubicBezTo>
                      <a:pt x="15332" y="21144"/>
                      <a:pt x="16084" y="20932"/>
                      <a:pt x="16213" y="20932"/>
                    </a:cubicBezTo>
                    <a:cubicBezTo>
                      <a:pt x="16342" y="20932"/>
                      <a:pt x="17466" y="20932"/>
                      <a:pt x="17466" y="20932"/>
                    </a:cubicBezTo>
                    <a:cubicBezTo>
                      <a:pt x="17466" y="20932"/>
                      <a:pt x="18449" y="21034"/>
                      <a:pt x="18578" y="20932"/>
                    </a:cubicBezTo>
                    <a:cubicBezTo>
                      <a:pt x="18707" y="20830"/>
                      <a:pt x="19606" y="20826"/>
                      <a:pt x="19688" y="20724"/>
                    </a:cubicBezTo>
                    <a:cubicBezTo>
                      <a:pt x="19769" y="20622"/>
                      <a:pt x="20916" y="20551"/>
                      <a:pt x="20916" y="20551"/>
                    </a:cubicBezTo>
                    <a:lnTo>
                      <a:pt x="21600" y="20232"/>
                    </a:lnTo>
                    <a:lnTo>
                      <a:pt x="21354" y="18157"/>
                    </a:lnTo>
                    <a:cubicBezTo>
                      <a:pt x="21354" y="18157"/>
                      <a:pt x="21094" y="16985"/>
                      <a:pt x="21000" y="16299"/>
                    </a:cubicBezTo>
                    <a:cubicBezTo>
                      <a:pt x="20906" y="15612"/>
                      <a:pt x="20418" y="14559"/>
                      <a:pt x="20418" y="14559"/>
                    </a:cubicBezTo>
                    <a:lnTo>
                      <a:pt x="19800" y="14134"/>
                    </a:lnTo>
                    <a:lnTo>
                      <a:pt x="19543" y="14343"/>
                    </a:lnTo>
                    <a:lnTo>
                      <a:pt x="19072" y="13930"/>
                    </a:lnTo>
                    <a:lnTo>
                      <a:pt x="18290" y="13718"/>
                    </a:lnTo>
                    <a:lnTo>
                      <a:pt x="17870" y="12700"/>
                    </a:lnTo>
                    <a:lnTo>
                      <a:pt x="17151" y="12382"/>
                    </a:lnTo>
                    <a:lnTo>
                      <a:pt x="16637" y="11408"/>
                    </a:lnTo>
                    <a:lnTo>
                      <a:pt x="15904" y="11514"/>
                    </a:lnTo>
                    <a:lnTo>
                      <a:pt x="15562" y="10328"/>
                    </a:lnTo>
                    <a:lnTo>
                      <a:pt x="15243" y="9841"/>
                    </a:lnTo>
                    <a:lnTo>
                      <a:pt x="14491" y="6253"/>
                    </a:lnTo>
                    <a:lnTo>
                      <a:pt x="14002" y="6358"/>
                    </a:lnTo>
                    <a:lnTo>
                      <a:pt x="13662" y="4823"/>
                    </a:lnTo>
                    <a:lnTo>
                      <a:pt x="12858" y="3840"/>
                    </a:lnTo>
                    <a:lnTo>
                      <a:pt x="12275" y="4752"/>
                    </a:lnTo>
                    <a:lnTo>
                      <a:pt x="11967" y="4858"/>
                    </a:lnTo>
                    <a:lnTo>
                      <a:pt x="11740" y="2385"/>
                    </a:lnTo>
                    <a:lnTo>
                      <a:pt x="10943" y="1960"/>
                    </a:lnTo>
                    <a:lnTo>
                      <a:pt x="10315" y="739"/>
                    </a:lnTo>
                    <a:lnTo>
                      <a:pt x="9612" y="0"/>
                    </a:lnTo>
                    <a:cubicBezTo>
                      <a:pt x="9612" y="0"/>
                      <a:pt x="9090" y="106"/>
                      <a:pt x="9008" y="212"/>
                    </a:cubicBezTo>
                    <a:cubicBezTo>
                      <a:pt x="8926" y="319"/>
                      <a:pt x="8603" y="810"/>
                      <a:pt x="8603" y="810"/>
                    </a:cubicBezTo>
                    <a:lnTo>
                      <a:pt x="7955" y="1124"/>
                    </a:lnTo>
                    <a:lnTo>
                      <a:pt x="6981" y="2362"/>
                    </a:lnTo>
                    <a:lnTo>
                      <a:pt x="6493" y="3876"/>
                    </a:lnTo>
                    <a:lnTo>
                      <a:pt x="5877" y="4398"/>
                    </a:lnTo>
                    <a:lnTo>
                      <a:pt x="5571" y="4154"/>
                    </a:lnTo>
                    <a:lnTo>
                      <a:pt x="5168" y="4469"/>
                    </a:lnTo>
                    <a:lnTo>
                      <a:pt x="4513" y="8919"/>
                    </a:lnTo>
                    <a:lnTo>
                      <a:pt x="4275" y="10220"/>
                    </a:lnTo>
                    <a:lnTo>
                      <a:pt x="3835" y="10605"/>
                    </a:lnTo>
                    <a:lnTo>
                      <a:pt x="3362" y="10181"/>
                    </a:lnTo>
                    <a:lnTo>
                      <a:pt x="3022" y="10181"/>
                    </a:lnTo>
                    <a:lnTo>
                      <a:pt x="2454" y="10464"/>
                    </a:lnTo>
                    <a:lnTo>
                      <a:pt x="2227" y="10955"/>
                    </a:lnTo>
                    <a:lnTo>
                      <a:pt x="1932" y="11729"/>
                    </a:lnTo>
                    <a:lnTo>
                      <a:pt x="1592" y="12637"/>
                    </a:lnTo>
                    <a:lnTo>
                      <a:pt x="73" y="18463"/>
                    </a:lnTo>
                    <a:lnTo>
                      <a:pt x="0" y="19847"/>
                    </a:lnTo>
                    <a:close/>
                  </a:path>
                </a:pathLst>
              </a:custGeom>
              <a:solidFill>
                <a:srgbClr val="C6D9EC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49" name="îSḷíḋe">
                <a:extLst>
                  <a:ext uri="{FF2B5EF4-FFF2-40B4-BE49-F238E27FC236}">
                    <a16:creationId xmlns:a16="http://schemas.microsoft.com/office/drawing/2014/main" id="{AC22BF58-939F-4D2B-8870-81047FE4E37C}"/>
                  </a:ext>
                </a:extLst>
              </p:cNvPr>
              <p:cNvSpPr/>
              <p:nvPr/>
            </p:nvSpPr>
            <p:spPr>
              <a:xfrm>
                <a:off x="1217" y="236760"/>
                <a:ext cx="803822" cy="7759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277" y="21600"/>
                    </a:moveTo>
                    <a:cubicBezTo>
                      <a:pt x="21277" y="21600"/>
                      <a:pt x="5549" y="20459"/>
                      <a:pt x="3142" y="19936"/>
                    </a:cubicBezTo>
                    <a:cubicBezTo>
                      <a:pt x="736" y="19414"/>
                      <a:pt x="0" y="19271"/>
                      <a:pt x="0" y="19271"/>
                    </a:cubicBezTo>
                    <a:cubicBezTo>
                      <a:pt x="0" y="19271"/>
                      <a:pt x="1364" y="18113"/>
                      <a:pt x="1875" y="17839"/>
                    </a:cubicBezTo>
                    <a:cubicBezTo>
                      <a:pt x="2385" y="17566"/>
                      <a:pt x="3763" y="15813"/>
                      <a:pt x="3763" y="15813"/>
                    </a:cubicBezTo>
                    <a:lnTo>
                      <a:pt x="4606" y="13727"/>
                    </a:lnTo>
                    <a:lnTo>
                      <a:pt x="3941" y="13067"/>
                    </a:lnTo>
                    <a:cubicBezTo>
                      <a:pt x="3941" y="13067"/>
                      <a:pt x="2385" y="15349"/>
                      <a:pt x="2177" y="15628"/>
                    </a:cubicBezTo>
                    <a:cubicBezTo>
                      <a:pt x="1968" y="15907"/>
                      <a:pt x="763" y="17185"/>
                      <a:pt x="763" y="17185"/>
                    </a:cubicBezTo>
                    <a:lnTo>
                      <a:pt x="3099" y="12729"/>
                    </a:lnTo>
                    <a:cubicBezTo>
                      <a:pt x="3099" y="12729"/>
                      <a:pt x="3692" y="11345"/>
                      <a:pt x="3799" y="11065"/>
                    </a:cubicBezTo>
                    <a:cubicBezTo>
                      <a:pt x="3905" y="10786"/>
                      <a:pt x="4535" y="9598"/>
                      <a:pt x="4535" y="9598"/>
                    </a:cubicBezTo>
                    <a:lnTo>
                      <a:pt x="5019" y="10014"/>
                    </a:lnTo>
                    <a:lnTo>
                      <a:pt x="5444" y="8927"/>
                    </a:lnTo>
                    <a:lnTo>
                      <a:pt x="6073" y="9444"/>
                    </a:lnTo>
                    <a:lnTo>
                      <a:pt x="6486" y="8641"/>
                    </a:lnTo>
                    <a:lnTo>
                      <a:pt x="6805" y="9866"/>
                    </a:lnTo>
                    <a:cubicBezTo>
                      <a:pt x="6805" y="9866"/>
                      <a:pt x="5710" y="11559"/>
                      <a:pt x="5604" y="11934"/>
                    </a:cubicBezTo>
                    <a:cubicBezTo>
                      <a:pt x="5498" y="12309"/>
                      <a:pt x="5710" y="13575"/>
                      <a:pt x="5710" y="13575"/>
                    </a:cubicBezTo>
                    <a:lnTo>
                      <a:pt x="6588" y="13480"/>
                    </a:lnTo>
                    <a:lnTo>
                      <a:pt x="6783" y="11310"/>
                    </a:lnTo>
                    <a:lnTo>
                      <a:pt x="7762" y="11168"/>
                    </a:lnTo>
                    <a:lnTo>
                      <a:pt x="8676" y="11917"/>
                    </a:lnTo>
                    <a:lnTo>
                      <a:pt x="9101" y="10556"/>
                    </a:lnTo>
                    <a:lnTo>
                      <a:pt x="9341" y="9449"/>
                    </a:lnTo>
                    <a:cubicBezTo>
                      <a:pt x="9341" y="9449"/>
                      <a:pt x="10502" y="9883"/>
                      <a:pt x="10502" y="10156"/>
                    </a:cubicBezTo>
                    <a:cubicBezTo>
                      <a:pt x="10502" y="10430"/>
                      <a:pt x="9119" y="12290"/>
                      <a:pt x="8942" y="12664"/>
                    </a:cubicBezTo>
                    <a:cubicBezTo>
                      <a:pt x="8765" y="13039"/>
                      <a:pt x="8340" y="13752"/>
                      <a:pt x="8340" y="14311"/>
                    </a:cubicBezTo>
                    <a:cubicBezTo>
                      <a:pt x="8340" y="14869"/>
                      <a:pt x="8690" y="15154"/>
                      <a:pt x="8690" y="15154"/>
                    </a:cubicBezTo>
                    <a:lnTo>
                      <a:pt x="9962" y="12706"/>
                    </a:lnTo>
                    <a:lnTo>
                      <a:pt x="10871" y="11951"/>
                    </a:lnTo>
                    <a:cubicBezTo>
                      <a:pt x="10871" y="11951"/>
                      <a:pt x="11261" y="11655"/>
                      <a:pt x="11363" y="11381"/>
                    </a:cubicBezTo>
                    <a:cubicBezTo>
                      <a:pt x="11465" y="11107"/>
                      <a:pt x="12383" y="10067"/>
                      <a:pt x="12383" y="10067"/>
                    </a:cubicBezTo>
                    <a:lnTo>
                      <a:pt x="13513" y="7951"/>
                    </a:lnTo>
                    <a:cubicBezTo>
                      <a:pt x="13513" y="7951"/>
                      <a:pt x="13895" y="7143"/>
                      <a:pt x="13615" y="7143"/>
                    </a:cubicBezTo>
                    <a:cubicBezTo>
                      <a:pt x="13335" y="7143"/>
                      <a:pt x="11780" y="7001"/>
                      <a:pt x="11780" y="7001"/>
                    </a:cubicBezTo>
                    <a:lnTo>
                      <a:pt x="9905" y="6858"/>
                    </a:lnTo>
                    <a:cubicBezTo>
                      <a:pt x="9905" y="6858"/>
                      <a:pt x="10579" y="1214"/>
                      <a:pt x="11177" y="607"/>
                    </a:cubicBezTo>
                    <a:cubicBezTo>
                      <a:pt x="11776" y="0"/>
                      <a:pt x="12051" y="0"/>
                      <a:pt x="12051" y="0"/>
                    </a:cubicBezTo>
                    <a:lnTo>
                      <a:pt x="11838" y="1213"/>
                    </a:lnTo>
                    <a:lnTo>
                      <a:pt x="12259" y="1629"/>
                    </a:lnTo>
                    <a:lnTo>
                      <a:pt x="12751" y="1107"/>
                    </a:lnTo>
                    <a:lnTo>
                      <a:pt x="13177" y="114"/>
                    </a:lnTo>
                    <a:lnTo>
                      <a:pt x="13696" y="399"/>
                    </a:lnTo>
                    <a:lnTo>
                      <a:pt x="14507" y="263"/>
                    </a:lnTo>
                    <a:lnTo>
                      <a:pt x="13881" y="1565"/>
                    </a:lnTo>
                    <a:lnTo>
                      <a:pt x="14369" y="1939"/>
                    </a:lnTo>
                    <a:lnTo>
                      <a:pt x="14157" y="3027"/>
                    </a:lnTo>
                    <a:lnTo>
                      <a:pt x="13452" y="3918"/>
                    </a:lnTo>
                    <a:lnTo>
                      <a:pt x="13554" y="5054"/>
                    </a:lnTo>
                    <a:lnTo>
                      <a:pt x="14073" y="4769"/>
                    </a:lnTo>
                    <a:lnTo>
                      <a:pt x="14774" y="3206"/>
                    </a:lnTo>
                    <a:lnTo>
                      <a:pt x="15053" y="4383"/>
                    </a:lnTo>
                    <a:lnTo>
                      <a:pt x="14521" y="6510"/>
                    </a:lnTo>
                    <a:lnTo>
                      <a:pt x="13435" y="9482"/>
                    </a:lnTo>
                    <a:lnTo>
                      <a:pt x="13151" y="11122"/>
                    </a:lnTo>
                    <a:lnTo>
                      <a:pt x="13045" y="12875"/>
                    </a:lnTo>
                    <a:lnTo>
                      <a:pt x="14774" y="11788"/>
                    </a:lnTo>
                    <a:lnTo>
                      <a:pt x="14774" y="10659"/>
                    </a:lnTo>
                    <a:lnTo>
                      <a:pt x="15341" y="8995"/>
                    </a:lnTo>
                    <a:lnTo>
                      <a:pt x="16041" y="8097"/>
                    </a:lnTo>
                    <a:lnTo>
                      <a:pt x="16321" y="7105"/>
                    </a:lnTo>
                    <a:lnTo>
                      <a:pt x="17451" y="5839"/>
                    </a:lnTo>
                    <a:lnTo>
                      <a:pt x="18404" y="6831"/>
                    </a:lnTo>
                    <a:cubicBezTo>
                      <a:pt x="18404" y="6831"/>
                      <a:pt x="18931" y="8447"/>
                      <a:pt x="18829" y="8864"/>
                    </a:cubicBezTo>
                    <a:cubicBezTo>
                      <a:pt x="18727" y="9280"/>
                      <a:pt x="18231" y="10314"/>
                      <a:pt x="18231" y="10314"/>
                    </a:cubicBezTo>
                    <a:cubicBezTo>
                      <a:pt x="18231" y="10314"/>
                      <a:pt x="18443" y="11544"/>
                      <a:pt x="18443" y="11824"/>
                    </a:cubicBezTo>
                    <a:cubicBezTo>
                      <a:pt x="18443" y="12103"/>
                      <a:pt x="18337" y="13417"/>
                      <a:pt x="18337" y="13417"/>
                    </a:cubicBezTo>
                    <a:lnTo>
                      <a:pt x="18762" y="14451"/>
                    </a:lnTo>
                    <a:lnTo>
                      <a:pt x="19081" y="15824"/>
                    </a:lnTo>
                    <a:lnTo>
                      <a:pt x="19959" y="15729"/>
                    </a:lnTo>
                    <a:lnTo>
                      <a:pt x="19959" y="14505"/>
                    </a:lnTo>
                    <a:cubicBezTo>
                      <a:pt x="19959" y="14505"/>
                      <a:pt x="19006" y="13216"/>
                      <a:pt x="19006" y="12942"/>
                    </a:cubicBezTo>
                    <a:cubicBezTo>
                      <a:pt x="19006" y="12668"/>
                      <a:pt x="19499" y="12383"/>
                      <a:pt x="19499" y="12383"/>
                    </a:cubicBezTo>
                    <a:cubicBezTo>
                      <a:pt x="19499" y="12383"/>
                      <a:pt x="20261" y="11592"/>
                      <a:pt x="19880" y="11497"/>
                    </a:cubicBezTo>
                    <a:cubicBezTo>
                      <a:pt x="19499" y="11402"/>
                      <a:pt x="18789" y="10868"/>
                      <a:pt x="18789" y="10594"/>
                    </a:cubicBezTo>
                    <a:cubicBezTo>
                      <a:pt x="18789" y="10320"/>
                      <a:pt x="19742" y="9755"/>
                      <a:pt x="19742" y="9755"/>
                    </a:cubicBezTo>
                    <a:lnTo>
                      <a:pt x="20682" y="10320"/>
                    </a:lnTo>
                    <a:lnTo>
                      <a:pt x="21139" y="9666"/>
                    </a:lnTo>
                    <a:lnTo>
                      <a:pt x="21210" y="13558"/>
                    </a:lnTo>
                    <a:cubicBezTo>
                      <a:pt x="21210" y="13558"/>
                      <a:pt x="21600" y="16219"/>
                      <a:pt x="21600" y="16499"/>
                    </a:cubicBezTo>
                    <a:cubicBezTo>
                      <a:pt x="21600" y="16778"/>
                      <a:pt x="21600" y="20385"/>
                      <a:pt x="21600" y="20385"/>
                    </a:cubicBezTo>
                    <a:lnTo>
                      <a:pt x="21277" y="21600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50" name="iṥļîḍe">
                <a:extLst>
                  <a:ext uri="{FF2B5EF4-FFF2-40B4-BE49-F238E27FC236}">
                    <a16:creationId xmlns:a16="http://schemas.microsoft.com/office/drawing/2014/main" id="{5DED2D49-0952-4F63-9478-F9BB83EDC515}"/>
                  </a:ext>
                </a:extLst>
              </p:cNvPr>
              <p:cNvSpPr/>
              <p:nvPr/>
            </p:nvSpPr>
            <p:spPr>
              <a:xfrm>
                <a:off x="781558" y="94907"/>
                <a:ext cx="96994" cy="3665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14" y="0"/>
                    </a:moveTo>
                    <a:lnTo>
                      <a:pt x="12196" y="5397"/>
                    </a:lnTo>
                    <a:lnTo>
                      <a:pt x="16312" y="8504"/>
                    </a:lnTo>
                    <a:lnTo>
                      <a:pt x="21600" y="12014"/>
                    </a:lnTo>
                    <a:lnTo>
                      <a:pt x="21600" y="16014"/>
                    </a:lnTo>
                    <a:lnTo>
                      <a:pt x="16312" y="19523"/>
                    </a:lnTo>
                    <a:lnTo>
                      <a:pt x="11644" y="21600"/>
                    </a:lnTo>
                    <a:lnTo>
                      <a:pt x="9037" y="19813"/>
                    </a:lnTo>
                    <a:lnTo>
                      <a:pt x="14289" y="16002"/>
                    </a:lnTo>
                    <a:cubicBezTo>
                      <a:pt x="14289" y="16002"/>
                      <a:pt x="15171" y="13977"/>
                      <a:pt x="15171" y="13386"/>
                    </a:cubicBezTo>
                    <a:cubicBezTo>
                      <a:pt x="15171" y="12795"/>
                      <a:pt x="12563" y="11586"/>
                      <a:pt x="12563" y="10995"/>
                    </a:cubicBezTo>
                    <a:cubicBezTo>
                      <a:pt x="12563" y="10404"/>
                      <a:pt x="4958" y="10493"/>
                      <a:pt x="4958" y="8291"/>
                    </a:cubicBezTo>
                    <a:cubicBezTo>
                      <a:pt x="4958" y="6090"/>
                      <a:pt x="4079" y="4693"/>
                      <a:pt x="4079" y="4693"/>
                    </a:cubicBezTo>
                    <a:lnTo>
                      <a:pt x="0" y="1611"/>
                    </a:lnTo>
                    <a:lnTo>
                      <a:pt x="2314" y="0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51" name="íśḻïḋê">
                <a:extLst>
                  <a:ext uri="{FF2B5EF4-FFF2-40B4-BE49-F238E27FC236}">
                    <a16:creationId xmlns:a16="http://schemas.microsoft.com/office/drawing/2014/main" id="{0518F19B-9833-462B-A6EA-DAEDFA4776DA}"/>
                  </a:ext>
                </a:extLst>
              </p:cNvPr>
              <p:cNvSpPr/>
              <p:nvPr/>
            </p:nvSpPr>
            <p:spPr>
              <a:xfrm>
                <a:off x="765409" y="297899"/>
                <a:ext cx="52453" cy="16841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28" y="655"/>
                    </a:moveTo>
                    <a:lnTo>
                      <a:pt x="21600" y="0"/>
                    </a:lnTo>
                    <a:lnTo>
                      <a:pt x="21600" y="6954"/>
                    </a:lnTo>
                    <a:lnTo>
                      <a:pt x="13997" y="21600"/>
                    </a:lnTo>
                    <a:lnTo>
                      <a:pt x="0" y="17851"/>
                    </a:lnTo>
                    <a:lnTo>
                      <a:pt x="1626" y="2821"/>
                    </a:lnTo>
                    <a:lnTo>
                      <a:pt x="5366" y="13251"/>
                    </a:lnTo>
                    <a:lnTo>
                      <a:pt x="11210" y="7225"/>
                    </a:lnTo>
                    <a:lnTo>
                      <a:pt x="10928" y="655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52" name="ïş1íďé">
                <a:extLst>
                  <a:ext uri="{FF2B5EF4-FFF2-40B4-BE49-F238E27FC236}">
                    <a16:creationId xmlns:a16="http://schemas.microsoft.com/office/drawing/2014/main" id="{0F3EA0FA-7D9D-4DDB-BA36-6285334552EF}"/>
                  </a:ext>
                </a:extLst>
              </p:cNvPr>
              <p:cNvSpPr/>
              <p:nvPr/>
            </p:nvSpPr>
            <p:spPr>
              <a:xfrm>
                <a:off x="660608" y="53878"/>
                <a:ext cx="61522" cy="23547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278" y="0"/>
                    </a:moveTo>
                    <a:lnTo>
                      <a:pt x="13893" y="7460"/>
                    </a:lnTo>
                    <a:lnTo>
                      <a:pt x="12501" y="12279"/>
                    </a:lnTo>
                    <a:lnTo>
                      <a:pt x="20266" y="14434"/>
                    </a:lnTo>
                    <a:lnTo>
                      <a:pt x="21600" y="21600"/>
                    </a:lnTo>
                    <a:lnTo>
                      <a:pt x="11412" y="17565"/>
                    </a:lnTo>
                    <a:lnTo>
                      <a:pt x="3075" y="12260"/>
                    </a:lnTo>
                    <a:lnTo>
                      <a:pt x="7243" y="7737"/>
                    </a:lnTo>
                    <a:lnTo>
                      <a:pt x="0" y="4974"/>
                    </a:lnTo>
                    <a:lnTo>
                      <a:pt x="4278" y="0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53" name="ïṧļïdé">
                <a:extLst>
                  <a:ext uri="{FF2B5EF4-FFF2-40B4-BE49-F238E27FC236}">
                    <a16:creationId xmlns:a16="http://schemas.microsoft.com/office/drawing/2014/main" id="{6648CD36-44E7-495B-99E4-845C26596F00}"/>
                  </a:ext>
                </a:extLst>
              </p:cNvPr>
              <p:cNvSpPr/>
              <p:nvPr/>
            </p:nvSpPr>
            <p:spPr>
              <a:xfrm>
                <a:off x="546977" y="106528"/>
                <a:ext cx="186285" cy="3321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986" y="4859"/>
                    </a:moveTo>
                    <a:lnTo>
                      <a:pt x="6884" y="0"/>
                    </a:lnTo>
                    <a:lnTo>
                      <a:pt x="9755" y="5387"/>
                    </a:lnTo>
                    <a:lnTo>
                      <a:pt x="9295" y="10037"/>
                    </a:lnTo>
                    <a:lnTo>
                      <a:pt x="11895" y="12022"/>
                    </a:lnTo>
                    <a:lnTo>
                      <a:pt x="14136" y="8150"/>
                    </a:lnTo>
                    <a:lnTo>
                      <a:pt x="16394" y="11217"/>
                    </a:lnTo>
                    <a:lnTo>
                      <a:pt x="16394" y="14522"/>
                    </a:lnTo>
                    <a:lnTo>
                      <a:pt x="19361" y="14842"/>
                    </a:lnTo>
                    <a:lnTo>
                      <a:pt x="21600" y="14189"/>
                    </a:lnTo>
                    <a:lnTo>
                      <a:pt x="21600" y="18922"/>
                    </a:lnTo>
                    <a:lnTo>
                      <a:pt x="20666" y="21600"/>
                    </a:lnTo>
                    <a:lnTo>
                      <a:pt x="16571" y="19713"/>
                    </a:lnTo>
                    <a:lnTo>
                      <a:pt x="12764" y="15104"/>
                    </a:lnTo>
                    <a:lnTo>
                      <a:pt x="9032" y="12590"/>
                    </a:lnTo>
                    <a:lnTo>
                      <a:pt x="5856" y="8659"/>
                    </a:lnTo>
                    <a:lnTo>
                      <a:pt x="900" y="7451"/>
                    </a:lnTo>
                    <a:lnTo>
                      <a:pt x="0" y="3691"/>
                    </a:lnTo>
                    <a:lnTo>
                      <a:pt x="2564" y="1065"/>
                    </a:lnTo>
                    <a:lnTo>
                      <a:pt x="5986" y="4859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54" name="íṧḷiďe">
                <a:extLst>
                  <a:ext uri="{FF2B5EF4-FFF2-40B4-BE49-F238E27FC236}">
                    <a16:creationId xmlns:a16="http://schemas.microsoft.com/office/drawing/2014/main" id="{0FAA62F6-4AEF-443F-821A-6D430E47E2C6}"/>
                  </a:ext>
                </a:extLst>
              </p:cNvPr>
              <p:cNvSpPr/>
              <p:nvPr/>
            </p:nvSpPr>
            <p:spPr>
              <a:xfrm>
                <a:off x="559860" y="271258"/>
                <a:ext cx="86130" cy="2083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211" y="2479"/>
                    </a:lnTo>
                    <a:lnTo>
                      <a:pt x="17707" y="8610"/>
                    </a:lnTo>
                    <a:lnTo>
                      <a:pt x="21600" y="13835"/>
                    </a:lnTo>
                    <a:lnTo>
                      <a:pt x="15023" y="16821"/>
                    </a:lnTo>
                    <a:lnTo>
                      <a:pt x="7452" y="21600"/>
                    </a:lnTo>
                    <a:lnTo>
                      <a:pt x="7452" y="15979"/>
                    </a:lnTo>
                    <a:lnTo>
                      <a:pt x="11673" y="13231"/>
                    </a:lnTo>
                    <a:lnTo>
                      <a:pt x="10020" y="6302"/>
                    </a:lnTo>
                    <a:lnTo>
                      <a:pt x="2278" y="38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55" name="iŝļïďê">
                <a:extLst>
                  <a:ext uri="{FF2B5EF4-FFF2-40B4-BE49-F238E27FC236}">
                    <a16:creationId xmlns:a16="http://schemas.microsoft.com/office/drawing/2014/main" id="{9ADFEDFE-1A84-46AB-9F4C-342D3D5B9500}"/>
                  </a:ext>
                </a:extLst>
              </p:cNvPr>
              <p:cNvSpPr/>
              <p:nvPr/>
            </p:nvSpPr>
            <p:spPr>
              <a:xfrm>
                <a:off x="989109" y="202415"/>
                <a:ext cx="64164" cy="1837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24" y="0"/>
                    </a:moveTo>
                    <a:lnTo>
                      <a:pt x="21600" y="9985"/>
                    </a:lnTo>
                    <a:lnTo>
                      <a:pt x="17603" y="21600"/>
                    </a:lnTo>
                    <a:lnTo>
                      <a:pt x="12277" y="12121"/>
                    </a:lnTo>
                    <a:lnTo>
                      <a:pt x="6056" y="20124"/>
                    </a:lnTo>
                    <a:lnTo>
                      <a:pt x="2168" y="16986"/>
                    </a:lnTo>
                    <a:lnTo>
                      <a:pt x="0" y="5371"/>
                    </a:lnTo>
                    <a:lnTo>
                      <a:pt x="7780" y="7554"/>
                    </a:lnTo>
                    <a:lnTo>
                      <a:pt x="16324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56" name="ïṩļïḓé">
                <a:extLst>
                  <a:ext uri="{FF2B5EF4-FFF2-40B4-BE49-F238E27FC236}">
                    <a16:creationId xmlns:a16="http://schemas.microsoft.com/office/drawing/2014/main" id="{354E04B2-E259-4984-85A7-054FDC7E8B09}"/>
                  </a:ext>
                </a:extLst>
              </p:cNvPr>
              <p:cNvSpPr/>
              <p:nvPr/>
            </p:nvSpPr>
            <p:spPr>
              <a:xfrm>
                <a:off x="990521" y="461745"/>
                <a:ext cx="34953" cy="682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7589" h="21600" extrusionOk="0">
                    <a:moveTo>
                      <a:pt x="5796" y="0"/>
                    </a:moveTo>
                    <a:cubicBezTo>
                      <a:pt x="5796" y="0"/>
                      <a:pt x="-4011" y="16745"/>
                      <a:pt x="1889" y="18362"/>
                    </a:cubicBezTo>
                    <a:cubicBezTo>
                      <a:pt x="7790" y="19978"/>
                      <a:pt x="13683" y="21600"/>
                      <a:pt x="13683" y="21600"/>
                    </a:cubicBezTo>
                    <a:lnTo>
                      <a:pt x="17589" y="10931"/>
                    </a:lnTo>
                    <a:lnTo>
                      <a:pt x="5796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57" name="iṩľiḋé">
                <a:extLst>
                  <a:ext uri="{FF2B5EF4-FFF2-40B4-BE49-F238E27FC236}">
                    <a16:creationId xmlns:a16="http://schemas.microsoft.com/office/drawing/2014/main" id="{E21E1DC8-76AF-4A16-8AA9-7064CDC91097}"/>
                  </a:ext>
                </a:extLst>
              </p:cNvPr>
              <p:cNvSpPr/>
              <p:nvPr/>
            </p:nvSpPr>
            <p:spPr>
              <a:xfrm>
                <a:off x="1131698" y="318452"/>
                <a:ext cx="75251" cy="1492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829"/>
                    </a:moveTo>
                    <a:lnTo>
                      <a:pt x="21600" y="21600"/>
                    </a:lnTo>
                    <a:lnTo>
                      <a:pt x="8346" y="0"/>
                    </a:lnTo>
                    <a:lnTo>
                      <a:pt x="0" y="1829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58" name="î$1iḍè">
                <a:extLst>
                  <a:ext uri="{FF2B5EF4-FFF2-40B4-BE49-F238E27FC236}">
                    <a16:creationId xmlns:a16="http://schemas.microsoft.com/office/drawing/2014/main" id="{13D4B8F0-1CB0-4039-A025-DB1A3338A604}"/>
                  </a:ext>
                </a:extLst>
              </p:cNvPr>
              <p:cNvSpPr/>
              <p:nvPr/>
            </p:nvSpPr>
            <p:spPr>
              <a:xfrm>
                <a:off x="1448697" y="713276"/>
                <a:ext cx="146344" cy="2444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013" y="3264"/>
                    </a:moveTo>
                    <a:lnTo>
                      <a:pt x="6013" y="0"/>
                    </a:lnTo>
                    <a:lnTo>
                      <a:pt x="0" y="0"/>
                    </a:lnTo>
                    <a:lnTo>
                      <a:pt x="0" y="7810"/>
                    </a:lnTo>
                    <a:lnTo>
                      <a:pt x="1168" y="13809"/>
                    </a:lnTo>
                    <a:lnTo>
                      <a:pt x="7525" y="18636"/>
                    </a:lnTo>
                    <a:lnTo>
                      <a:pt x="11302" y="21600"/>
                    </a:lnTo>
                    <a:lnTo>
                      <a:pt x="18336" y="20561"/>
                    </a:lnTo>
                    <a:lnTo>
                      <a:pt x="21015" y="18034"/>
                    </a:lnTo>
                    <a:lnTo>
                      <a:pt x="21600" y="12789"/>
                    </a:lnTo>
                    <a:lnTo>
                      <a:pt x="20042" y="7525"/>
                    </a:lnTo>
                    <a:lnTo>
                      <a:pt x="18312" y="14961"/>
                    </a:lnTo>
                    <a:lnTo>
                      <a:pt x="16754" y="17604"/>
                    </a:lnTo>
                    <a:lnTo>
                      <a:pt x="15587" y="10531"/>
                    </a:lnTo>
                    <a:lnTo>
                      <a:pt x="12734" y="7550"/>
                    </a:lnTo>
                    <a:lnTo>
                      <a:pt x="8086" y="11605"/>
                    </a:lnTo>
                    <a:lnTo>
                      <a:pt x="5967" y="9983"/>
                    </a:lnTo>
                    <a:lnTo>
                      <a:pt x="11543" y="3868"/>
                    </a:lnTo>
                    <a:lnTo>
                      <a:pt x="8498" y="1944"/>
                    </a:lnTo>
                    <a:lnTo>
                      <a:pt x="6013" y="3264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59" name="îsľïdé">
                <a:extLst>
                  <a:ext uri="{FF2B5EF4-FFF2-40B4-BE49-F238E27FC236}">
                    <a16:creationId xmlns:a16="http://schemas.microsoft.com/office/drawing/2014/main" id="{6327202B-8E24-4E97-B44B-63B0DEC5E505}"/>
                  </a:ext>
                </a:extLst>
              </p:cNvPr>
              <p:cNvSpPr/>
              <p:nvPr/>
            </p:nvSpPr>
            <p:spPr>
              <a:xfrm>
                <a:off x="1572139" y="718328"/>
                <a:ext cx="79525" cy="2218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780" y="7588"/>
                    </a:lnTo>
                    <a:lnTo>
                      <a:pt x="12856" y="15861"/>
                    </a:lnTo>
                    <a:lnTo>
                      <a:pt x="13888" y="21102"/>
                    </a:lnTo>
                    <a:lnTo>
                      <a:pt x="20524" y="21600"/>
                    </a:lnTo>
                    <a:cubicBezTo>
                      <a:pt x="20524" y="21600"/>
                      <a:pt x="21600" y="15450"/>
                      <a:pt x="21600" y="13993"/>
                    </a:cubicBezTo>
                    <a:cubicBezTo>
                      <a:pt x="21600" y="12536"/>
                      <a:pt x="21600" y="6404"/>
                      <a:pt x="21600" y="6404"/>
                    </a:cubicBezTo>
                    <a:lnTo>
                      <a:pt x="15150" y="3432"/>
                    </a:lnTo>
                    <a:lnTo>
                      <a:pt x="8829" y="24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  <p:sp>
            <p:nvSpPr>
              <p:cNvPr id="160" name="íśľïḑè">
                <a:extLst>
                  <a:ext uri="{FF2B5EF4-FFF2-40B4-BE49-F238E27FC236}">
                    <a16:creationId xmlns:a16="http://schemas.microsoft.com/office/drawing/2014/main" id="{8FA57921-61A9-49F5-A14D-DCCC501BACA1}"/>
                  </a:ext>
                </a:extLst>
              </p:cNvPr>
              <p:cNvSpPr/>
              <p:nvPr/>
            </p:nvSpPr>
            <p:spPr>
              <a:xfrm>
                <a:off x="1070163" y="238757"/>
                <a:ext cx="51355" cy="2053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994" y="0"/>
                    </a:moveTo>
                    <a:lnTo>
                      <a:pt x="0" y="15424"/>
                    </a:lnTo>
                    <a:lnTo>
                      <a:pt x="10769" y="16501"/>
                    </a:lnTo>
                    <a:lnTo>
                      <a:pt x="10144" y="21600"/>
                    </a:lnTo>
                    <a:lnTo>
                      <a:pt x="21600" y="20523"/>
                    </a:lnTo>
                    <a:lnTo>
                      <a:pt x="10925" y="9411"/>
                    </a:lnTo>
                    <a:lnTo>
                      <a:pt x="4994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/>
                  <a:ea typeface="微软雅黑"/>
                </a:endParaRPr>
              </a:p>
            </p:txBody>
          </p:sp>
        </p:grpSp>
      </p:grpSp>
      <p:sp>
        <p:nvSpPr>
          <p:cNvPr id="202" name="íS1iḋè">
            <a:extLst>
              <a:ext uri="{FF2B5EF4-FFF2-40B4-BE49-F238E27FC236}">
                <a16:creationId xmlns:a16="http://schemas.microsoft.com/office/drawing/2014/main" id="{D5151737-FF7F-4D8E-ABDB-E9D299A2DA20}"/>
              </a:ext>
            </a:extLst>
          </p:cNvPr>
          <p:cNvSpPr/>
          <p:nvPr userDrawn="1"/>
        </p:nvSpPr>
        <p:spPr>
          <a:xfrm>
            <a:off x="-19464" y="3123746"/>
            <a:ext cx="12230928" cy="3734254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accent1">
                  <a:lumMod val="60000"/>
                  <a:lumOff val="40000"/>
                  <a:alpha val="50000"/>
                </a:schemeClr>
              </a:gs>
            </a:gsLst>
            <a:lin ang="5400000"/>
          </a:gra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8102877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图片 125">
            <a:extLst>
              <a:ext uri="{FF2B5EF4-FFF2-40B4-BE49-F238E27FC236}">
                <a16:creationId xmlns:a16="http://schemas.microsoft.com/office/drawing/2014/main" id="{7986A4E2-D4D7-4DAE-A708-1036146F97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4107180"/>
          </a:xfrm>
          <a:prstGeom prst="rect">
            <a:avLst/>
          </a:prstGeom>
        </p:spPr>
      </p:pic>
      <p:sp>
        <p:nvSpPr>
          <p:cNvPr id="111" name="矩形: 单圆角 110">
            <a:extLst>
              <a:ext uri="{FF2B5EF4-FFF2-40B4-BE49-F238E27FC236}">
                <a16:creationId xmlns:a16="http://schemas.microsoft.com/office/drawing/2014/main" id="{EAF442DF-F7DD-4876-9392-D355326F67A6}"/>
              </a:ext>
            </a:extLst>
          </p:cNvPr>
          <p:cNvSpPr/>
          <p:nvPr userDrawn="1"/>
        </p:nvSpPr>
        <p:spPr>
          <a:xfrm flipH="1">
            <a:off x="1447800" y="1745269"/>
            <a:ext cx="10744200" cy="2899467"/>
          </a:xfrm>
          <a:prstGeom prst="round1Rect">
            <a:avLst>
              <a:gd name="adj" fmla="val 18817"/>
            </a:avLst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6503" y="2520083"/>
            <a:ext cx="9656072" cy="923330"/>
          </a:xfrm>
        </p:spPr>
        <p:txBody>
          <a:bodyPr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8F19B7F-65B9-4778-86D3-AB8EEFACE9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56503" y="3469812"/>
            <a:ext cx="9656072" cy="400110"/>
          </a:xfrm>
        </p:spPr>
        <p:txBody>
          <a:bodyPr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000" kern="1200" spc="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40D7A070-7AD3-46A0-AD41-94F48E4EE327}"/>
              </a:ext>
            </a:extLst>
          </p:cNvPr>
          <p:cNvSpPr/>
          <p:nvPr userDrawn="1"/>
        </p:nvSpPr>
        <p:spPr>
          <a:xfrm>
            <a:off x="1714500" y="2647696"/>
            <a:ext cx="45719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ABEFFFED-3586-4082-A56E-F78581DA1ACB}"/>
              </a:ext>
            </a:extLst>
          </p:cNvPr>
          <p:cNvSpPr/>
          <p:nvPr userDrawn="1"/>
        </p:nvSpPr>
        <p:spPr>
          <a:xfrm>
            <a:off x="1802130" y="2647696"/>
            <a:ext cx="18000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E5D5D201-24DF-473B-9E84-E4E6D020883A}"/>
              </a:ext>
            </a:extLst>
          </p:cNvPr>
          <p:cNvSpPr/>
          <p:nvPr userDrawn="1"/>
        </p:nvSpPr>
        <p:spPr>
          <a:xfrm>
            <a:off x="1447800" y="4494265"/>
            <a:ext cx="10744200" cy="15047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3" name="内容占位符 123">
            <a:extLst>
              <a:ext uri="{FF2B5EF4-FFF2-40B4-BE49-F238E27FC236}">
                <a16:creationId xmlns:a16="http://schemas.microsoft.com/office/drawing/2014/main" id="{9BA06F88-BC0E-412B-8B0F-3AA80A75F43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73467" y="5372864"/>
            <a:ext cx="2719160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sp>
        <p:nvSpPr>
          <p:cNvPr id="117" name="内容占位符 4">
            <a:extLst>
              <a:ext uri="{FF2B5EF4-FFF2-40B4-BE49-F238E27FC236}">
                <a16:creationId xmlns:a16="http://schemas.microsoft.com/office/drawing/2014/main" id="{D6E95ACC-70CC-423E-875E-05B1248892E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056503" y="5372864"/>
            <a:ext cx="2393258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cxnSp>
        <p:nvCxnSpPr>
          <p:cNvPr id="118" name="直接连接符 117">
            <a:extLst>
              <a:ext uri="{FF2B5EF4-FFF2-40B4-BE49-F238E27FC236}">
                <a16:creationId xmlns:a16="http://schemas.microsoft.com/office/drawing/2014/main" id="{4F33372E-E460-4F2E-8301-DE89859AEECE}"/>
              </a:ext>
            </a:extLst>
          </p:cNvPr>
          <p:cNvCxnSpPr>
            <a:cxnSpLocks/>
          </p:cNvCxnSpPr>
          <p:nvPr userDrawn="1"/>
        </p:nvCxnSpPr>
        <p:spPr>
          <a:xfrm>
            <a:off x="4471557" y="5433940"/>
            <a:ext cx="0" cy="26785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7792C7E5-4A60-47F7-A049-DAB770E006B3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1" name="Freeform 5">
              <a:extLst>
                <a:ext uri="{FF2B5EF4-FFF2-40B4-BE49-F238E27FC236}">
                  <a16:creationId xmlns:a16="http://schemas.microsoft.com/office/drawing/2014/main" id="{BAC6D441-2337-4747-96A4-F5E9A2C6DE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A4046264-87C2-4C6E-8A68-2E4D0EDE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8">
              <a:extLst>
                <a:ext uri="{FF2B5EF4-FFF2-40B4-BE49-F238E27FC236}">
                  <a16:creationId xmlns:a16="http://schemas.microsoft.com/office/drawing/2014/main" id="{65D0D3EC-1A86-4D55-85A1-A35BFE6EA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9" name="组合 118">
              <a:extLst>
                <a:ext uri="{FF2B5EF4-FFF2-40B4-BE49-F238E27FC236}">
                  <a16:creationId xmlns:a16="http://schemas.microsoft.com/office/drawing/2014/main" id="{2726B84D-4A27-4745-B183-0AB78C40DC19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1" name="Freeform 6">
                <a:extLst>
                  <a:ext uri="{FF2B5EF4-FFF2-40B4-BE49-F238E27FC236}">
                    <a16:creationId xmlns:a16="http://schemas.microsoft.com/office/drawing/2014/main" id="{0E0DDBB8-608A-46D5-BC9B-696F75C557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0">
                <a:extLst>
                  <a:ext uri="{FF2B5EF4-FFF2-40B4-BE49-F238E27FC236}">
                    <a16:creationId xmlns:a16="http://schemas.microsoft.com/office/drawing/2014/main" id="{6E7E211D-FBA1-493D-AB65-0AD98AE46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3">
                <a:extLst>
                  <a:ext uri="{FF2B5EF4-FFF2-40B4-BE49-F238E27FC236}">
                    <a16:creationId xmlns:a16="http://schemas.microsoft.com/office/drawing/2014/main" id="{DB0AF462-978A-4EE8-9616-C23BBF1C58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0" name="组合 119">
              <a:extLst>
                <a:ext uri="{FF2B5EF4-FFF2-40B4-BE49-F238E27FC236}">
                  <a16:creationId xmlns:a16="http://schemas.microsoft.com/office/drawing/2014/main" id="{02FEB11B-9FA4-4BEA-BC82-0CC306BAC36F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56" name="Freeform 9">
                <a:extLst>
                  <a:ext uri="{FF2B5EF4-FFF2-40B4-BE49-F238E27FC236}">
                    <a16:creationId xmlns:a16="http://schemas.microsoft.com/office/drawing/2014/main" id="{D1A4F6A0-3777-4ACC-8EF8-E39C1B16BC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1">
                <a:extLst>
                  <a:ext uri="{FF2B5EF4-FFF2-40B4-BE49-F238E27FC236}">
                    <a16:creationId xmlns:a16="http://schemas.microsoft.com/office/drawing/2014/main" id="{6A76657A-A6EE-4490-ABB3-92D3AA2EAB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12">
                <a:extLst>
                  <a:ext uri="{FF2B5EF4-FFF2-40B4-BE49-F238E27FC236}">
                    <a16:creationId xmlns:a16="http://schemas.microsoft.com/office/drawing/2014/main" id="{F16C643A-2A99-434C-98F5-7405082AA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4">
                <a:extLst>
                  <a:ext uri="{FF2B5EF4-FFF2-40B4-BE49-F238E27FC236}">
                    <a16:creationId xmlns:a16="http://schemas.microsoft.com/office/drawing/2014/main" id="{A967681F-AA86-4346-9CF8-78309A29A8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15">
                <a:extLst>
                  <a:ext uri="{FF2B5EF4-FFF2-40B4-BE49-F238E27FC236}">
                    <a16:creationId xmlns:a16="http://schemas.microsoft.com/office/drawing/2014/main" id="{49E70138-4FB3-433B-A385-7AED7F68B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1" name="Freeform 16">
              <a:extLst>
                <a:ext uri="{FF2B5EF4-FFF2-40B4-BE49-F238E27FC236}">
                  <a16:creationId xmlns:a16="http://schemas.microsoft.com/office/drawing/2014/main" id="{42030A8A-15E5-4E53-91AF-E50EACCCA2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7">
              <a:extLst>
                <a:ext uri="{FF2B5EF4-FFF2-40B4-BE49-F238E27FC236}">
                  <a16:creationId xmlns:a16="http://schemas.microsoft.com/office/drawing/2014/main" id="{72E82B90-AF16-439B-B396-0DAAE2A4F8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18">
              <a:extLst>
                <a:ext uri="{FF2B5EF4-FFF2-40B4-BE49-F238E27FC236}">
                  <a16:creationId xmlns:a16="http://schemas.microsoft.com/office/drawing/2014/main" id="{6F6DC21F-207B-42B3-92B4-261DC2A1A3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9">
              <a:extLst>
                <a:ext uri="{FF2B5EF4-FFF2-40B4-BE49-F238E27FC236}">
                  <a16:creationId xmlns:a16="http://schemas.microsoft.com/office/drawing/2014/main" id="{2ABAC66B-EEDB-483A-A23D-729204C43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0">
              <a:extLst>
                <a:ext uri="{FF2B5EF4-FFF2-40B4-BE49-F238E27FC236}">
                  <a16:creationId xmlns:a16="http://schemas.microsoft.com/office/drawing/2014/main" id="{99C77A98-51C8-456E-8700-8626B382A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1">
              <a:extLst>
                <a:ext uri="{FF2B5EF4-FFF2-40B4-BE49-F238E27FC236}">
                  <a16:creationId xmlns:a16="http://schemas.microsoft.com/office/drawing/2014/main" id="{AD19FE1C-7548-4348-BE13-2D75A5033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2">
              <a:extLst>
                <a:ext uri="{FF2B5EF4-FFF2-40B4-BE49-F238E27FC236}">
                  <a16:creationId xmlns:a16="http://schemas.microsoft.com/office/drawing/2014/main" id="{455F721B-CE4F-455D-B377-F2AAC05AB1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3">
              <a:extLst>
                <a:ext uri="{FF2B5EF4-FFF2-40B4-BE49-F238E27FC236}">
                  <a16:creationId xmlns:a16="http://schemas.microsoft.com/office/drawing/2014/main" id="{3E1EFD22-9297-401C-89C7-17E8B3FEF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4">
              <a:extLst>
                <a:ext uri="{FF2B5EF4-FFF2-40B4-BE49-F238E27FC236}">
                  <a16:creationId xmlns:a16="http://schemas.microsoft.com/office/drawing/2014/main" id="{178D1761-57E4-4373-881D-CE1E0EAB7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5">
              <a:extLst>
                <a:ext uri="{FF2B5EF4-FFF2-40B4-BE49-F238E27FC236}">
                  <a16:creationId xmlns:a16="http://schemas.microsoft.com/office/drawing/2014/main" id="{1DEB9827-1EE3-4292-8A9E-153AB7359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6">
              <a:extLst>
                <a:ext uri="{FF2B5EF4-FFF2-40B4-BE49-F238E27FC236}">
                  <a16:creationId xmlns:a16="http://schemas.microsoft.com/office/drawing/2014/main" id="{94EA82E3-F431-4D97-8722-04A76F8026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7">
              <a:extLst>
                <a:ext uri="{FF2B5EF4-FFF2-40B4-BE49-F238E27FC236}">
                  <a16:creationId xmlns:a16="http://schemas.microsoft.com/office/drawing/2014/main" id="{A82EAF5A-9C9C-43EA-9F7C-AABA0D25C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8">
              <a:extLst>
                <a:ext uri="{FF2B5EF4-FFF2-40B4-BE49-F238E27FC236}">
                  <a16:creationId xmlns:a16="http://schemas.microsoft.com/office/drawing/2014/main" id="{9B80075C-FE5D-4268-8846-7A533DA62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29">
              <a:extLst>
                <a:ext uri="{FF2B5EF4-FFF2-40B4-BE49-F238E27FC236}">
                  <a16:creationId xmlns:a16="http://schemas.microsoft.com/office/drawing/2014/main" id="{71A5ACA4-959D-4A56-B634-53986D9C9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0">
              <a:extLst>
                <a:ext uri="{FF2B5EF4-FFF2-40B4-BE49-F238E27FC236}">
                  <a16:creationId xmlns:a16="http://schemas.microsoft.com/office/drawing/2014/main" id="{62DCB4F0-0C63-4528-A0F4-145DBF19D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1">
              <a:extLst>
                <a:ext uri="{FF2B5EF4-FFF2-40B4-BE49-F238E27FC236}">
                  <a16:creationId xmlns:a16="http://schemas.microsoft.com/office/drawing/2014/main" id="{81029D65-4FAD-416A-8E56-493B0F1C0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2">
              <a:extLst>
                <a:ext uri="{FF2B5EF4-FFF2-40B4-BE49-F238E27FC236}">
                  <a16:creationId xmlns:a16="http://schemas.microsoft.com/office/drawing/2014/main" id="{218D30C1-6B98-4CFC-8AFA-0A0FE4029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3">
              <a:extLst>
                <a:ext uri="{FF2B5EF4-FFF2-40B4-BE49-F238E27FC236}">
                  <a16:creationId xmlns:a16="http://schemas.microsoft.com/office/drawing/2014/main" id="{D1A13025-8998-4664-9D94-145F3054D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4">
              <a:extLst>
                <a:ext uri="{FF2B5EF4-FFF2-40B4-BE49-F238E27FC236}">
                  <a16:creationId xmlns:a16="http://schemas.microsoft.com/office/drawing/2014/main" id="{42745014-3AFB-488C-92E8-5E59A1373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5">
              <a:extLst>
                <a:ext uri="{FF2B5EF4-FFF2-40B4-BE49-F238E27FC236}">
                  <a16:creationId xmlns:a16="http://schemas.microsoft.com/office/drawing/2014/main" id="{132E18A2-D7D9-416D-A989-BD942DBC5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6">
              <a:extLst>
                <a:ext uri="{FF2B5EF4-FFF2-40B4-BE49-F238E27FC236}">
                  <a16:creationId xmlns:a16="http://schemas.microsoft.com/office/drawing/2014/main" id="{CBE413FE-4A44-4731-8FC0-2188ECF49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7">
              <a:extLst>
                <a:ext uri="{FF2B5EF4-FFF2-40B4-BE49-F238E27FC236}">
                  <a16:creationId xmlns:a16="http://schemas.microsoft.com/office/drawing/2014/main" id="{42803605-F4EC-4EE2-96AE-CCA390224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8">
              <a:extLst>
                <a:ext uri="{FF2B5EF4-FFF2-40B4-BE49-F238E27FC236}">
                  <a16:creationId xmlns:a16="http://schemas.microsoft.com/office/drawing/2014/main" id="{87FE3813-AB4D-450F-850F-D0CBD04AD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9">
              <a:extLst>
                <a:ext uri="{FF2B5EF4-FFF2-40B4-BE49-F238E27FC236}">
                  <a16:creationId xmlns:a16="http://schemas.microsoft.com/office/drawing/2014/main" id="{E52F92D9-AF6B-4B30-B6B5-E757E2E51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40">
              <a:extLst>
                <a:ext uri="{FF2B5EF4-FFF2-40B4-BE49-F238E27FC236}">
                  <a16:creationId xmlns:a16="http://schemas.microsoft.com/office/drawing/2014/main" id="{F7A64FC9-8C33-4D97-A7BA-574FCE1A5E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41">
              <a:extLst>
                <a:ext uri="{FF2B5EF4-FFF2-40B4-BE49-F238E27FC236}">
                  <a16:creationId xmlns:a16="http://schemas.microsoft.com/office/drawing/2014/main" id="{7F8967C8-3B79-4DBF-9545-B9FAA62F6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42">
              <a:extLst>
                <a:ext uri="{FF2B5EF4-FFF2-40B4-BE49-F238E27FC236}">
                  <a16:creationId xmlns:a16="http://schemas.microsoft.com/office/drawing/2014/main" id="{FD5A4E77-3A4C-4592-8EA6-C0C7D1211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43">
              <a:extLst>
                <a:ext uri="{FF2B5EF4-FFF2-40B4-BE49-F238E27FC236}">
                  <a16:creationId xmlns:a16="http://schemas.microsoft.com/office/drawing/2014/main" id="{F8FC6A1E-4933-4A86-BF34-CC1150634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44">
              <a:extLst>
                <a:ext uri="{FF2B5EF4-FFF2-40B4-BE49-F238E27FC236}">
                  <a16:creationId xmlns:a16="http://schemas.microsoft.com/office/drawing/2014/main" id="{7C54EB49-37FB-42CC-9988-2932D8B7E4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5">
              <a:extLst>
                <a:ext uri="{FF2B5EF4-FFF2-40B4-BE49-F238E27FC236}">
                  <a16:creationId xmlns:a16="http://schemas.microsoft.com/office/drawing/2014/main" id="{55D4D74A-7FD5-40B0-BB18-A6D62953D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6">
              <a:extLst>
                <a:ext uri="{FF2B5EF4-FFF2-40B4-BE49-F238E27FC236}">
                  <a16:creationId xmlns:a16="http://schemas.microsoft.com/office/drawing/2014/main" id="{DAB046F4-5229-496F-AD1A-2BB0B3D0D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7">
              <a:extLst>
                <a:ext uri="{FF2B5EF4-FFF2-40B4-BE49-F238E27FC236}">
                  <a16:creationId xmlns:a16="http://schemas.microsoft.com/office/drawing/2014/main" id="{CFE76F87-ED5A-4B49-B5EE-CD6F6579A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48">
              <a:extLst>
                <a:ext uri="{FF2B5EF4-FFF2-40B4-BE49-F238E27FC236}">
                  <a16:creationId xmlns:a16="http://schemas.microsoft.com/office/drawing/2014/main" id="{C7EF81C7-C470-4DDA-B051-1DCB50C9E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49">
              <a:extLst>
                <a:ext uri="{FF2B5EF4-FFF2-40B4-BE49-F238E27FC236}">
                  <a16:creationId xmlns:a16="http://schemas.microsoft.com/office/drawing/2014/main" id="{9AC8D61C-7FF9-4A21-A63B-2BCC72B71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244489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图片占位符 6">
            <a:extLst>
              <a:ext uri="{FF2B5EF4-FFF2-40B4-BE49-F238E27FC236}">
                <a16:creationId xmlns:a16="http://schemas.microsoft.com/office/drawing/2014/main" id="{A33F5D92-293F-494B-95BD-E79B78456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196976"/>
            <a:ext cx="2766546" cy="4932362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图片占位符 8">
            <a:extLst>
              <a:ext uri="{FF2B5EF4-FFF2-40B4-BE49-F238E27FC236}">
                <a16:creationId xmlns:a16="http://schemas.microsoft.com/office/drawing/2014/main" id="{472373F1-345B-46A5-9A75-BF1056588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425452" y="1196976"/>
            <a:ext cx="2766548" cy="4932362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8037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2" name="îṩļíḓè">
            <a:extLst>
              <a:ext uri="{FF2B5EF4-FFF2-40B4-BE49-F238E27FC236}">
                <a16:creationId xmlns:a16="http://schemas.microsoft.com/office/drawing/2014/main" id="{AE06BAA9-0578-42ED-A66A-2B8DD1B26CC4}"/>
              </a:ext>
            </a:extLst>
          </p:cNvPr>
          <p:cNvSpPr/>
          <p:nvPr userDrawn="1"/>
        </p:nvSpPr>
        <p:spPr>
          <a:xfrm>
            <a:off x="0" y="5881254"/>
            <a:ext cx="12192000" cy="33250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13" name="组合 112">
            <a:extLst>
              <a:ext uri="{FF2B5EF4-FFF2-40B4-BE49-F238E27FC236}">
                <a16:creationId xmlns:a16="http://schemas.microsoft.com/office/drawing/2014/main" id="{24210DA4-17BC-4DB7-A4C6-DA2FB0994491}"/>
              </a:ext>
            </a:extLst>
          </p:cNvPr>
          <p:cNvGrpSpPr/>
          <p:nvPr userDrawn="1"/>
        </p:nvGrpSpPr>
        <p:grpSpPr>
          <a:xfrm>
            <a:off x="4233047" y="1242688"/>
            <a:ext cx="3190532" cy="4245353"/>
            <a:chOff x="4233047" y="1242688"/>
            <a:chExt cx="3190532" cy="4245353"/>
          </a:xfrm>
        </p:grpSpPr>
        <p:sp>
          <p:nvSpPr>
            <p:cNvPr id="114" name="í$ḷïďê">
              <a:extLst>
                <a:ext uri="{FF2B5EF4-FFF2-40B4-BE49-F238E27FC236}">
                  <a16:creationId xmlns:a16="http://schemas.microsoft.com/office/drawing/2014/main" id="{0AA819E7-F5F4-46AD-B1F7-325B2BC62085}"/>
                </a:ext>
              </a:extLst>
            </p:cNvPr>
            <p:cNvSpPr/>
            <p:nvPr/>
          </p:nvSpPr>
          <p:spPr bwMode="auto">
            <a:xfrm>
              <a:off x="6661392" y="1978798"/>
              <a:ext cx="551226" cy="548959"/>
            </a:xfrm>
            <a:custGeom>
              <a:avLst/>
              <a:gdLst>
                <a:gd name="T0" fmla="*/ 243 w 623"/>
                <a:gd name="T1" fmla="*/ 585 h 622"/>
                <a:gd name="T2" fmla="*/ 585 w 623"/>
                <a:gd name="T3" fmla="*/ 380 h 622"/>
                <a:gd name="T4" fmla="*/ 380 w 623"/>
                <a:gd name="T5" fmla="*/ 38 h 622"/>
                <a:gd name="T6" fmla="*/ 38 w 623"/>
                <a:gd name="T7" fmla="*/ 243 h 622"/>
                <a:gd name="T8" fmla="*/ 243 w 623"/>
                <a:gd name="T9" fmla="*/ 585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3" h="622">
                  <a:moveTo>
                    <a:pt x="243" y="585"/>
                  </a:moveTo>
                  <a:cubicBezTo>
                    <a:pt x="394" y="622"/>
                    <a:pt x="547" y="531"/>
                    <a:pt x="585" y="380"/>
                  </a:cubicBezTo>
                  <a:cubicBezTo>
                    <a:pt x="623" y="229"/>
                    <a:pt x="531" y="76"/>
                    <a:pt x="380" y="38"/>
                  </a:cubicBezTo>
                  <a:cubicBezTo>
                    <a:pt x="229" y="0"/>
                    <a:pt x="76" y="92"/>
                    <a:pt x="38" y="243"/>
                  </a:cubicBezTo>
                  <a:cubicBezTo>
                    <a:pt x="0" y="394"/>
                    <a:pt x="92" y="547"/>
                    <a:pt x="243" y="5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15" name="íṣľíḍê">
              <a:extLst>
                <a:ext uri="{FF2B5EF4-FFF2-40B4-BE49-F238E27FC236}">
                  <a16:creationId xmlns:a16="http://schemas.microsoft.com/office/drawing/2014/main" id="{4D2DD8D6-2C29-4997-BA92-4F47D608A1CD}"/>
                </a:ext>
              </a:extLst>
            </p:cNvPr>
            <p:cNvSpPr/>
            <p:nvPr/>
          </p:nvSpPr>
          <p:spPr bwMode="auto">
            <a:xfrm>
              <a:off x="6610352" y="2155736"/>
              <a:ext cx="145179" cy="162193"/>
            </a:xfrm>
            <a:custGeom>
              <a:avLst/>
              <a:gdLst>
                <a:gd name="T0" fmla="*/ 115 w 128"/>
                <a:gd name="T1" fmla="*/ 143 h 143"/>
                <a:gd name="T2" fmla="*/ 128 w 128"/>
                <a:gd name="T3" fmla="*/ 0 h 143"/>
                <a:gd name="T4" fmla="*/ 6 w 128"/>
                <a:gd name="T5" fmla="*/ 27 h 143"/>
                <a:gd name="T6" fmla="*/ 0 w 128"/>
                <a:gd name="T7" fmla="*/ 95 h 143"/>
                <a:gd name="T8" fmla="*/ 115 w 128"/>
                <a:gd name="T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43">
                  <a:moveTo>
                    <a:pt x="115" y="143"/>
                  </a:moveTo>
                  <a:lnTo>
                    <a:pt x="128" y="0"/>
                  </a:lnTo>
                  <a:lnTo>
                    <a:pt x="6" y="27"/>
                  </a:lnTo>
                  <a:lnTo>
                    <a:pt x="0" y="95"/>
                  </a:lnTo>
                  <a:lnTo>
                    <a:pt x="115" y="1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16" name="ï$ľíḓé">
              <a:extLst>
                <a:ext uri="{FF2B5EF4-FFF2-40B4-BE49-F238E27FC236}">
                  <a16:creationId xmlns:a16="http://schemas.microsoft.com/office/drawing/2014/main" id="{3DDB0158-36B0-4593-AEB1-97A8CCD91062}"/>
                </a:ext>
              </a:extLst>
            </p:cNvPr>
            <p:cNvSpPr/>
            <p:nvPr/>
          </p:nvSpPr>
          <p:spPr bwMode="auto">
            <a:xfrm>
              <a:off x="6837194" y="2435885"/>
              <a:ext cx="163326" cy="144045"/>
            </a:xfrm>
            <a:custGeom>
              <a:avLst/>
              <a:gdLst>
                <a:gd name="T0" fmla="*/ 0 w 144"/>
                <a:gd name="T1" fmla="*/ 0 h 127"/>
                <a:gd name="T2" fmla="*/ 144 w 144"/>
                <a:gd name="T3" fmla="*/ 12 h 127"/>
                <a:gd name="T4" fmla="*/ 95 w 144"/>
                <a:gd name="T5" fmla="*/ 127 h 127"/>
                <a:gd name="T6" fmla="*/ 27 w 144"/>
                <a:gd name="T7" fmla="*/ 121 h 127"/>
                <a:gd name="T8" fmla="*/ 0 w 144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27">
                  <a:moveTo>
                    <a:pt x="0" y="0"/>
                  </a:moveTo>
                  <a:lnTo>
                    <a:pt x="144" y="12"/>
                  </a:lnTo>
                  <a:lnTo>
                    <a:pt x="95" y="127"/>
                  </a:lnTo>
                  <a:lnTo>
                    <a:pt x="27" y="1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17" name="iŝlïḑè">
              <a:extLst>
                <a:ext uri="{FF2B5EF4-FFF2-40B4-BE49-F238E27FC236}">
                  <a16:creationId xmlns:a16="http://schemas.microsoft.com/office/drawing/2014/main" id="{985A38B2-16B3-4419-B8B3-3E99E7325D07}"/>
                </a:ext>
              </a:extLst>
            </p:cNvPr>
            <p:cNvSpPr/>
            <p:nvPr/>
          </p:nvSpPr>
          <p:spPr bwMode="auto">
            <a:xfrm>
              <a:off x="7117344" y="2188628"/>
              <a:ext cx="145179" cy="163327"/>
            </a:xfrm>
            <a:custGeom>
              <a:avLst/>
              <a:gdLst>
                <a:gd name="T0" fmla="*/ 14 w 128"/>
                <a:gd name="T1" fmla="*/ 0 h 144"/>
                <a:gd name="T2" fmla="*/ 0 w 128"/>
                <a:gd name="T3" fmla="*/ 144 h 144"/>
                <a:gd name="T4" fmla="*/ 122 w 128"/>
                <a:gd name="T5" fmla="*/ 117 h 144"/>
                <a:gd name="T6" fmla="*/ 128 w 128"/>
                <a:gd name="T7" fmla="*/ 49 h 144"/>
                <a:gd name="T8" fmla="*/ 14 w 128"/>
                <a:gd name="T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44">
                  <a:moveTo>
                    <a:pt x="14" y="0"/>
                  </a:moveTo>
                  <a:lnTo>
                    <a:pt x="0" y="144"/>
                  </a:lnTo>
                  <a:lnTo>
                    <a:pt x="122" y="117"/>
                  </a:lnTo>
                  <a:lnTo>
                    <a:pt x="128" y="4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18" name="íśliḑè">
              <a:extLst>
                <a:ext uri="{FF2B5EF4-FFF2-40B4-BE49-F238E27FC236}">
                  <a16:creationId xmlns:a16="http://schemas.microsoft.com/office/drawing/2014/main" id="{A547D01A-852E-4974-B647-A04613C68E66}"/>
                </a:ext>
              </a:extLst>
            </p:cNvPr>
            <p:cNvSpPr/>
            <p:nvPr/>
          </p:nvSpPr>
          <p:spPr bwMode="auto">
            <a:xfrm>
              <a:off x="6873488" y="1928892"/>
              <a:ext cx="163326" cy="145180"/>
            </a:xfrm>
            <a:custGeom>
              <a:avLst/>
              <a:gdLst>
                <a:gd name="T0" fmla="*/ 144 w 144"/>
                <a:gd name="T1" fmla="*/ 128 h 128"/>
                <a:gd name="T2" fmla="*/ 0 w 144"/>
                <a:gd name="T3" fmla="*/ 115 h 128"/>
                <a:gd name="T4" fmla="*/ 49 w 144"/>
                <a:gd name="T5" fmla="*/ 0 h 128"/>
                <a:gd name="T6" fmla="*/ 117 w 144"/>
                <a:gd name="T7" fmla="*/ 7 h 128"/>
                <a:gd name="T8" fmla="*/ 144 w 144"/>
                <a:gd name="T9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28">
                  <a:moveTo>
                    <a:pt x="144" y="128"/>
                  </a:moveTo>
                  <a:lnTo>
                    <a:pt x="0" y="115"/>
                  </a:lnTo>
                  <a:lnTo>
                    <a:pt x="49" y="0"/>
                  </a:lnTo>
                  <a:lnTo>
                    <a:pt x="117" y="7"/>
                  </a:lnTo>
                  <a:lnTo>
                    <a:pt x="144" y="12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19" name="îṥḻiḋe">
              <a:extLst>
                <a:ext uri="{FF2B5EF4-FFF2-40B4-BE49-F238E27FC236}">
                  <a16:creationId xmlns:a16="http://schemas.microsoft.com/office/drawing/2014/main" id="{CB7C984E-E381-42D4-9748-939F7CBE3F45}"/>
                </a:ext>
              </a:extLst>
            </p:cNvPr>
            <p:cNvSpPr/>
            <p:nvPr/>
          </p:nvSpPr>
          <p:spPr bwMode="auto">
            <a:xfrm>
              <a:off x="6662526" y="2312256"/>
              <a:ext cx="181473" cy="179205"/>
            </a:xfrm>
            <a:custGeom>
              <a:avLst/>
              <a:gdLst>
                <a:gd name="T0" fmla="*/ 160 w 160"/>
                <a:gd name="T1" fmla="*/ 111 h 158"/>
                <a:gd name="T2" fmla="*/ 68 w 160"/>
                <a:gd name="T3" fmla="*/ 0 h 158"/>
                <a:gd name="T4" fmla="*/ 0 w 160"/>
                <a:gd name="T5" fmla="*/ 105 h 158"/>
                <a:gd name="T6" fmla="*/ 44 w 160"/>
                <a:gd name="T7" fmla="*/ 158 h 158"/>
                <a:gd name="T8" fmla="*/ 160 w 160"/>
                <a:gd name="T9" fmla="*/ 11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8">
                  <a:moveTo>
                    <a:pt x="160" y="111"/>
                  </a:moveTo>
                  <a:lnTo>
                    <a:pt x="68" y="0"/>
                  </a:lnTo>
                  <a:lnTo>
                    <a:pt x="0" y="105"/>
                  </a:lnTo>
                  <a:lnTo>
                    <a:pt x="44" y="158"/>
                  </a:lnTo>
                  <a:lnTo>
                    <a:pt x="160" y="11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20" name="í$ḷîďé">
              <a:extLst>
                <a:ext uri="{FF2B5EF4-FFF2-40B4-BE49-F238E27FC236}">
                  <a16:creationId xmlns:a16="http://schemas.microsoft.com/office/drawing/2014/main" id="{5F2B5215-E431-4616-ACFA-4EC4DB4F71C8}"/>
                </a:ext>
              </a:extLst>
            </p:cNvPr>
            <p:cNvSpPr/>
            <p:nvPr/>
          </p:nvSpPr>
          <p:spPr bwMode="auto">
            <a:xfrm>
              <a:off x="6993714" y="2347418"/>
              <a:ext cx="180339" cy="181474"/>
            </a:xfrm>
            <a:custGeom>
              <a:avLst/>
              <a:gdLst>
                <a:gd name="T0" fmla="*/ 0 w 159"/>
                <a:gd name="T1" fmla="*/ 92 h 160"/>
                <a:gd name="T2" fmla="*/ 111 w 159"/>
                <a:gd name="T3" fmla="*/ 0 h 160"/>
                <a:gd name="T4" fmla="*/ 159 w 159"/>
                <a:gd name="T5" fmla="*/ 116 h 160"/>
                <a:gd name="T6" fmla="*/ 106 w 159"/>
                <a:gd name="T7" fmla="*/ 160 h 160"/>
                <a:gd name="T8" fmla="*/ 0 w 159"/>
                <a:gd name="T9" fmla="*/ 92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160">
                  <a:moveTo>
                    <a:pt x="0" y="92"/>
                  </a:moveTo>
                  <a:lnTo>
                    <a:pt x="111" y="0"/>
                  </a:lnTo>
                  <a:lnTo>
                    <a:pt x="159" y="116"/>
                  </a:lnTo>
                  <a:lnTo>
                    <a:pt x="106" y="16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21" name="íṥlíḋé">
              <a:extLst>
                <a:ext uri="{FF2B5EF4-FFF2-40B4-BE49-F238E27FC236}">
                  <a16:creationId xmlns:a16="http://schemas.microsoft.com/office/drawing/2014/main" id="{00033AEB-54B4-4236-B4D9-BD687800BEA1}"/>
                </a:ext>
              </a:extLst>
            </p:cNvPr>
            <p:cNvSpPr/>
            <p:nvPr/>
          </p:nvSpPr>
          <p:spPr bwMode="auto">
            <a:xfrm>
              <a:off x="7028875" y="2016228"/>
              <a:ext cx="181473" cy="179205"/>
            </a:xfrm>
            <a:custGeom>
              <a:avLst/>
              <a:gdLst>
                <a:gd name="T0" fmla="*/ 0 w 160"/>
                <a:gd name="T1" fmla="*/ 47 h 158"/>
                <a:gd name="T2" fmla="*/ 92 w 160"/>
                <a:gd name="T3" fmla="*/ 158 h 158"/>
                <a:gd name="T4" fmla="*/ 160 w 160"/>
                <a:gd name="T5" fmla="*/ 53 h 158"/>
                <a:gd name="T6" fmla="*/ 116 w 160"/>
                <a:gd name="T7" fmla="*/ 0 h 158"/>
                <a:gd name="T8" fmla="*/ 0 w 160"/>
                <a:gd name="T9" fmla="*/ 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8">
                  <a:moveTo>
                    <a:pt x="0" y="47"/>
                  </a:moveTo>
                  <a:lnTo>
                    <a:pt x="92" y="158"/>
                  </a:lnTo>
                  <a:lnTo>
                    <a:pt x="160" y="53"/>
                  </a:lnTo>
                  <a:lnTo>
                    <a:pt x="116" y="0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22" name="iśḷïḋe">
              <a:extLst>
                <a:ext uri="{FF2B5EF4-FFF2-40B4-BE49-F238E27FC236}">
                  <a16:creationId xmlns:a16="http://schemas.microsoft.com/office/drawing/2014/main" id="{3A8EDEC4-D240-4090-BD8E-C3DF822E891E}"/>
                </a:ext>
              </a:extLst>
            </p:cNvPr>
            <p:cNvSpPr/>
            <p:nvPr/>
          </p:nvSpPr>
          <p:spPr bwMode="auto">
            <a:xfrm>
              <a:off x="6699955" y="1979932"/>
              <a:ext cx="179205" cy="180340"/>
            </a:xfrm>
            <a:custGeom>
              <a:avLst/>
              <a:gdLst>
                <a:gd name="T0" fmla="*/ 158 w 158"/>
                <a:gd name="T1" fmla="*/ 67 h 159"/>
                <a:gd name="T2" fmla="*/ 48 w 158"/>
                <a:gd name="T3" fmla="*/ 159 h 159"/>
                <a:gd name="T4" fmla="*/ 0 w 158"/>
                <a:gd name="T5" fmla="*/ 44 h 159"/>
                <a:gd name="T6" fmla="*/ 53 w 158"/>
                <a:gd name="T7" fmla="*/ 0 h 159"/>
                <a:gd name="T8" fmla="*/ 158 w 158"/>
                <a:gd name="T9" fmla="*/ 6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59">
                  <a:moveTo>
                    <a:pt x="158" y="67"/>
                  </a:moveTo>
                  <a:lnTo>
                    <a:pt x="48" y="159"/>
                  </a:lnTo>
                  <a:lnTo>
                    <a:pt x="0" y="44"/>
                  </a:lnTo>
                  <a:lnTo>
                    <a:pt x="53" y="0"/>
                  </a:lnTo>
                  <a:lnTo>
                    <a:pt x="158" y="6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23" name="iṡļíḑé">
              <a:extLst>
                <a:ext uri="{FF2B5EF4-FFF2-40B4-BE49-F238E27FC236}">
                  <a16:creationId xmlns:a16="http://schemas.microsoft.com/office/drawing/2014/main" id="{2B9F8C6D-0BEF-4D29-9C45-E5A99F9B9176}"/>
                </a:ext>
              </a:extLst>
            </p:cNvPr>
            <p:cNvSpPr/>
            <p:nvPr/>
          </p:nvSpPr>
          <p:spPr bwMode="auto">
            <a:xfrm>
              <a:off x="5595233" y="2511878"/>
              <a:ext cx="1785247" cy="1781847"/>
            </a:xfrm>
            <a:custGeom>
              <a:avLst/>
              <a:gdLst>
                <a:gd name="T0" fmla="*/ 215 w 2018"/>
                <a:gd name="T1" fmla="*/ 1398 h 2018"/>
                <a:gd name="T2" fmla="*/ 1398 w 2018"/>
                <a:gd name="T3" fmla="*/ 1803 h 2018"/>
                <a:gd name="T4" fmla="*/ 1803 w 2018"/>
                <a:gd name="T5" fmla="*/ 620 h 2018"/>
                <a:gd name="T6" fmla="*/ 620 w 2018"/>
                <a:gd name="T7" fmla="*/ 215 h 2018"/>
                <a:gd name="T8" fmla="*/ 215 w 2018"/>
                <a:gd name="T9" fmla="*/ 1398 h 2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8" h="2018">
                  <a:moveTo>
                    <a:pt x="215" y="1398"/>
                  </a:moveTo>
                  <a:cubicBezTo>
                    <a:pt x="430" y="1837"/>
                    <a:pt x="960" y="2018"/>
                    <a:pt x="1398" y="1803"/>
                  </a:cubicBezTo>
                  <a:cubicBezTo>
                    <a:pt x="1837" y="1588"/>
                    <a:pt x="2018" y="1058"/>
                    <a:pt x="1803" y="620"/>
                  </a:cubicBezTo>
                  <a:cubicBezTo>
                    <a:pt x="1588" y="181"/>
                    <a:pt x="1058" y="0"/>
                    <a:pt x="620" y="215"/>
                  </a:cubicBezTo>
                  <a:cubicBezTo>
                    <a:pt x="181" y="430"/>
                    <a:pt x="0" y="960"/>
                    <a:pt x="215" y="139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24" name="îṡ1iďê">
              <a:extLst>
                <a:ext uri="{FF2B5EF4-FFF2-40B4-BE49-F238E27FC236}">
                  <a16:creationId xmlns:a16="http://schemas.microsoft.com/office/drawing/2014/main" id="{A88AD4F6-DECD-4048-BDF3-0D474BA71CEF}"/>
                </a:ext>
              </a:extLst>
            </p:cNvPr>
            <p:cNvSpPr/>
            <p:nvPr/>
          </p:nvSpPr>
          <p:spPr bwMode="auto">
            <a:xfrm>
              <a:off x="6022830" y="2536830"/>
              <a:ext cx="276747" cy="308505"/>
            </a:xfrm>
            <a:custGeom>
              <a:avLst/>
              <a:gdLst>
                <a:gd name="T0" fmla="*/ 47 w 244"/>
                <a:gd name="T1" fmla="*/ 272 h 272"/>
                <a:gd name="T2" fmla="*/ 244 w 244"/>
                <a:gd name="T3" fmla="*/ 175 h 272"/>
                <a:gd name="T4" fmla="*/ 94 w 244"/>
                <a:gd name="T5" fmla="*/ 0 h 272"/>
                <a:gd name="T6" fmla="*/ 0 w 244"/>
                <a:gd name="T7" fmla="*/ 46 h 272"/>
                <a:gd name="T8" fmla="*/ 47 w 244"/>
                <a:gd name="T9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72">
                  <a:moveTo>
                    <a:pt x="47" y="272"/>
                  </a:moveTo>
                  <a:lnTo>
                    <a:pt x="244" y="175"/>
                  </a:lnTo>
                  <a:lnTo>
                    <a:pt x="94" y="0"/>
                  </a:lnTo>
                  <a:lnTo>
                    <a:pt x="0" y="46"/>
                  </a:lnTo>
                  <a:lnTo>
                    <a:pt x="47" y="27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25" name="ïṧḻíďé">
              <a:extLst>
                <a:ext uri="{FF2B5EF4-FFF2-40B4-BE49-F238E27FC236}">
                  <a16:creationId xmlns:a16="http://schemas.microsoft.com/office/drawing/2014/main" id="{EFB37752-EC18-4E6A-A6BE-3B0D7FD1B556}"/>
                </a:ext>
              </a:extLst>
            </p:cNvPr>
            <p:cNvSpPr/>
            <p:nvPr/>
          </p:nvSpPr>
          <p:spPr bwMode="auto">
            <a:xfrm>
              <a:off x="5621320" y="3590514"/>
              <a:ext cx="308506" cy="276748"/>
            </a:xfrm>
            <a:custGeom>
              <a:avLst/>
              <a:gdLst>
                <a:gd name="T0" fmla="*/ 175 w 272"/>
                <a:gd name="T1" fmla="*/ 0 h 244"/>
                <a:gd name="T2" fmla="*/ 272 w 272"/>
                <a:gd name="T3" fmla="*/ 197 h 244"/>
                <a:gd name="T4" fmla="*/ 46 w 272"/>
                <a:gd name="T5" fmla="*/ 244 h 244"/>
                <a:gd name="T6" fmla="*/ 0 w 272"/>
                <a:gd name="T7" fmla="*/ 150 h 244"/>
                <a:gd name="T8" fmla="*/ 175 w 272"/>
                <a:gd name="T9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44">
                  <a:moveTo>
                    <a:pt x="175" y="0"/>
                  </a:moveTo>
                  <a:lnTo>
                    <a:pt x="272" y="197"/>
                  </a:lnTo>
                  <a:lnTo>
                    <a:pt x="46" y="244"/>
                  </a:lnTo>
                  <a:lnTo>
                    <a:pt x="0" y="15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26" name="ïṩḷîḍê">
              <a:extLst>
                <a:ext uri="{FF2B5EF4-FFF2-40B4-BE49-F238E27FC236}">
                  <a16:creationId xmlns:a16="http://schemas.microsoft.com/office/drawing/2014/main" id="{9DA72C13-96D1-47D1-9DB8-583B7A3D0ACE}"/>
                </a:ext>
              </a:extLst>
            </p:cNvPr>
            <p:cNvSpPr/>
            <p:nvPr/>
          </p:nvSpPr>
          <p:spPr bwMode="auto">
            <a:xfrm>
              <a:off x="6676136" y="3960267"/>
              <a:ext cx="276747" cy="308505"/>
            </a:xfrm>
            <a:custGeom>
              <a:avLst/>
              <a:gdLst>
                <a:gd name="T0" fmla="*/ 198 w 244"/>
                <a:gd name="T1" fmla="*/ 0 h 272"/>
                <a:gd name="T2" fmla="*/ 0 w 244"/>
                <a:gd name="T3" fmla="*/ 96 h 272"/>
                <a:gd name="T4" fmla="*/ 151 w 244"/>
                <a:gd name="T5" fmla="*/ 272 h 272"/>
                <a:gd name="T6" fmla="*/ 244 w 244"/>
                <a:gd name="T7" fmla="*/ 226 h 272"/>
                <a:gd name="T8" fmla="*/ 198 w 244"/>
                <a:gd name="T9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72">
                  <a:moveTo>
                    <a:pt x="198" y="0"/>
                  </a:moveTo>
                  <a:lnTo>
                    <a:pt x="0" y="96"/>
                  </a:lnTo>
                  <a:lnTo>
                    <a:pt x="151" y="272"/>
                  </a:lnTo>
                  <a:lnTo>
                    <a:pt x="244" y="226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27" name="išḻîďè">
              <a:extLst>
                <a:ext uri="{FF2B5EF4-FFF2-40B4-BE49-F238E27FC236}">
                  <a16:creationId xmlns:a16="http://schemas.microsoft.com/office/drawing/2014/main" id="{E823EAA9-E998-4DA8-999A-29CD9DEF9B1E}"/>
                </a:ext>
              </a:extLst>
            </p:cNvPr>
            <p:cNvSpPr/>
            <p:nvPr/>
          </p:nvSpPr>
          <p:spPr bwMode="auto">
            <a:xfrm>
              <a:off x="7045888" y="2938341"/>
              <a:ext cx="309639" cy="275614"/>
            </a:xfrm>
            <a:custGeom>
              <a:avLst/>
              <a:gdLst>
                <a:gd name="T0" fmla="*/ 97 w 273"/>
                <a:gd name="T1" fmla="*/ 243 h 243"/>
                <a:gd name="T2" fmla="*/ 0 w 273"/>
                <a:gd name="T3" fmla="*/ 46 h 243"/>
                <a:gd name="T4" fmla="*/ 226 w 273"/>
                <a:gd name="T5" fmla="*/ 0 h 243"/>
                <a:gd name="T6" fmla="*/ 273 w 273"/>
                <a:gd name="T7" fmla="*/ 93 h 243"/>
                <a:gd name="T8" fmla="*/ 97 w 273"/>
                <a:gd name="T9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43">
                  <a:moveTo>
                    <a:pt x="97" y="243"/>
                  </a:moveTo>
                  <a:lnTo>
                    <a:pt x="0" y="46"/>
                  </a:lnTo>
                  <a:lnTo>
                    <a:pt x="226" y="0"/>
                  </a:lnTo>
                  <a:lnTo>
                    <a:pt x="273" y="93"/>
                  </a:lnTo>
                  <a:lnTo>
                    <a:pt x="97" y="2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28" name="îŝlïdê">
              <a:extLst>
                <a:ext uri="{FF2B5EF4-FFF2-40B4-BE49-F238E27FC236}">
                  <a16:creationId xmlns:a16="http://schemas.microsoft.com/office/drawing/2014/main" id="{A00498BA-AB90-4B11-A978-A3E0CA32B05B}"/>
                </a:ext>
              </a:extLst>
            </p:cNvPr>
            <p:cNvSpPr/>
            <p:nvPr/>
          </p:nvSpPr>
          <p:spPr bwMode="auto">
            <a:xfrm>
              <a:off x="5585025" y="3043822"/>
              <a:ext cx="296029" cy="255198"/>
            </a:xfrm>
            <a:custGeom>
              <a:avLst/>
              <a:gdLst>
                <a:gd name="T0" fmla="*/ 190 w 261"/>
                <a:gd name="T1" fmla="*/ 225 h 225"/>
                <a:gd name="T2" fmla="*/ 261 w 261"/>
                <a:gd name="T3" fmla="*/ 17 h 225"/>
                <a:gd name="T4" fmla="*/ 34 w 261"/>
                <a:gd name="T5" fmla="*/ 0 h 225"/>
                <a:gd name="T6" fmla="*/ 0 w 261"/>
                <a:gd name="T7" fmla="*/ 100 h 225"/>
                <a:gd name="T8" fmla="*/ 190 w 261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225">
                  <a:moveTo>
                    <a:pt x="190" y="225"/>
                  </a:moveTo>
                  <a:lnTo>
                    <a:pt x="261" y="17"/>
                  </a:lnTo>
                  <a:lnTo>
                    <a:pt x="34" y="0"/>
                  </a:lnTo>
                  <a:lnTo>
                    <a:pt x="0" y="100"/>
                  </a:lnTo>
                  <a:lnTo>
                    <a:pt x="190" y="22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29" name="íSḷidé">
              <a:extLst>
                <a:ext uri="{FF2B5EF4-FFF2-40B4-BE49-F238E27FC236}">
                  <a16:creationId xmlns:a16="http://schemas.microsoft.com/office/drawing/2014/main" id="{E2466CB1-8E82-4F87-ABF1-35E3182ADBDB}"/>
                </a:ext>
              </a:extLst>
            </p:cNvPr>
            <p:cNvSpPr/>
            <p:nvPr/>
          </p:nvSpPr>
          <p:spPr bwMode="auto">
            <a:xfrm>
              <a:off x="6129446" y="4009037"/>
              <a:ext cx="255197" cy="296030"/>
            </a:xfrm>
            <a:custGeom>
              <a:avLst/>
              <a:gdLst>
                <a:gd name="T0" fmla="*/ 17 w 225"/>
                <a:gd name="T1" fmla="*/ 0 h 261"/>
                <a:gd name="T2" fmla="*/ 225 w 225"/>
                <a:gd name="T3" fmla="*/ 70 h 261"/>
                <a:gd name="T4" fmla="*/ 99 w 225"/>
                <a:gd name="T5" fmla="*/ 261 h 261"/>
                <a:gd name="T6" fmla="*/ 0 w 225"/>
                <a:gd name="T7" fmla="*/ 226 h 261"/>
                <a:gd name="T8" fmla="*/ 17 w 225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261">
                  <a:moveTo>
                    <a:pt x="17" y="0"/>
                  </a:moveTo>
                  <a:lnTo>
                    <a:pt x="225" y="70"/>
                  </a:lnTo>
                  <a:lnTo>
                    <a:pt x="99" y="261"/>
                  </a:lnTo>
                  <a:lnTo>
                    <a:pt x="0" y="226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30" name="îṩḷíḑé">
              <a:extLst>
                <a:ext uri="{FF2B5EF4-FFF2-40B4-BE49-F238E27FC236}">
                  <a16:creationId xmlns:a16="http://schemas.microsoft.com/office/drawing/2014/main" id="{A008907C-505D-47A9-B4D0-5237FA9ED94C}"/>
                </a:ext>
              </a:extLst>
            </p:cNvPr>
            <p:cNvSpPr/>
            <p:nvPr/>
          </p:nvSpPr>
          <p:spPr bwMode="auto">
            <a:xfrm>
              <a:off x="7094659" y="3505448"/>
              <a:ext cx="296029" cy="255198"/>
            </a:xfrm>
            <a:custGeom>
              <a:avLst/>
              <a:gdLst>
                <a:gd name="T0" fmla="*/ 71 w 261"/>
                <a:gd name="T1" fmla="*/ 0 h 225"/>
                <a:gd name="T2" fmla="*/ 0 w 261"/>
                <a:gd name="T3" fmla="*/ 208 h 225"/>
                <a:gd name="T4" fmla="*/ 228 w 261"/>
                <a:gd name="T5" fmla="*/ 225 h 225"/>
                <a:gd name="T6" fmla="*/ 261 w 261"/>
                <a:gd name="T7" fmla="*/ 126 h 225"/>
                <a:gd name="T8" fmla="*/ 71 w 261"/>
                <a:gd name="T9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225">
                  <a:moveTo>
                    <a:pt x="71" y="0"/>
                  </a:moveTo>
                  <a:lnTo>
                    <a:pt x="0" y="208"/>
                  </a:lnTo>
                  <a:lnTo>
                    <a:pt x="228" y="225"/>
                  </a:lnTo>
                  <a:lnTo>
                    <a:pt x="261" y="126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31" name="ïṥlidê">
              <a:extLst>
                <a:ext uri="{FF2B5EF4-FFF2-40B4-BE49-F238E27FC236}">
                  <a16:creationId xmlns:a16="http://schemas.microsoft.com/office/drawing/2014/main" id="{D9969CD7-5E64-4872-B990-35B8DEB9550F}"/>
                </a:ext>
              </a:extLst>
            </p:cNvPr>
            <p:cNvSpPr/>
            <p:nvPr/>
          </p:nvSpPr>
          <p:spPr bwMode="auto">
            <a:xfrm>
              <a:off x="6591070" y="2500535"/>
              <a:ext cx="256331" cy="296030"/>
            </a:xfrm>
            <a:custGeom>
              <a:avLst/>
              <a:gdLst>
                <a:gd name="T0" fmla="*/ 209 w 226"/>
                <a:gd name="T1" fmla="*/ 261 h 261"/>
                <a:gd name="T2" fmla="*/ 0 w 226"/>
                <a:gd name="T3" fmla="*/ 190 h 261"/>
                <a:gd name="T4" fmla="*/ 126 w 226"/>
                <a:gd name="T5" fmla="*/ 0 h 261"/>
                <a:gd name="T6" fmla="*/ 226 w 226"/>
                <a:gd name="T7" fmla="*/ 34 h 261"/>
                <a:gd name="T8" fmla="*/ 209 w 226"/>
                <a:gd name="T9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" h="261">
                  <a:moveTo>
                    <a:pt x="209" y="261"/>
                  </a:moveTo>
                  <a:lnTo>
                    <a:pt x="0" y="190"/>
                  </a:lnTo>
                  <a:lnTo>
                    <a:pt x="126" y="0"/>
                  </a:lnTo>
                  <a:lnTo>
                    <a:pt x="226" y="34"/>
                  </a:lnTo>
                  <a:lnTo>
                    <a:pt x="209" y="26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32" name="íṥḻîḋé">
              <a:extLst>
                <a:ext uri="{FF2B5EF4-FFF2-40B4-BE49-F238E27FC236}">
                  <a16:creationId xmlns:a16="http://schemas.microsoft.com/office/drawing/2014/main" id="{4221C6AE-B167-49C2-9F41-6EB91F0ED294}"/>
                </a:ext>
              </a:extLst>
            </p:cNvPr>
            <p:cNvSpPr/>
            <p:nvPr/>
          </p:nvSpPr>
          <p:spPr bwMode="auto">
            <a:xfrm>
              <a:off x="5743815" y="2745525"/>
              <a:ext cx="309639" cy="302836"/>
            </a:xfrm>
            <a:custGeom>
              <a:avLst/>
              <a:gdLst>
                <a:gd name="T0" fmla="*/ 129 w 273"/>
                <a:gd name="T1" fmla="*/ 267 h 267"/>
                <a:gd name="T2" fmla="*/ 273 w 273"/>
                <a:gd name="T3" fmla="*/ 101 h 267"/>
                <a:gd name="T4" fmla="*/ 69 w 273"/>
                <a:gd name="T5" fmla="*/ 0 h 267"/>
                <a:gd name="T6" fmla="*/ 0 w 273"/>
                <a:gd name="T7" fmla="*/ 79 h 267"/>
                <a:gd name="T8" fmla="*/ 129 w 273"/>
                <a:gd name="T9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67">
                  <a:moveTo>
                    <a:pt x="129" y="267"/>
                  </a:moveTo>
                  <a:lnTo>
                    <a:pt x="273" y="101"/>
                  </a:lnTo>
                  <a:lnTo>
                    <a:pt x="69" y="0"/>
                  </a:lnTo>
                  <a:lnTo>
                    <a:pt x="0" y="79"/>
                  </a:lnTo>
                  <a:lnTo>
                    <a:pt x="129" y="26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33" name="îšľïḍe">
              <a:extLst>
                <a:ext uri="{FF2B5EF4-FFF2-40B4-BE49-F238E27FC236}">
                  <a16:creationId xmlns:a16="http://schemas.microsoft.com/office/drawing/2014/main" id="{6571F416-F720-4A46-AA0D-E6645447A52B}"/>
                </a:ext>
              </a:extLst>
            </p:cNvPr>
            <p:cNvSpPr/>
            <p:nvPr/>
          </p:nvSpPr>
          <p:spPr bwMode="auto">
            <a:xfrm>
              <a:off x="5830015" y="3836637"/>
              <a:ext cx="302834" cy="308505"/>
            </a:xfrm>
            <a:custGeom>
              <a:avLst/>
              <a:gdLst>
                <a:gd name="T0" fmla="*/ 101 w 267"/>
                <a:gd name="T1" fmla="*/ 0 h 272"/>
                <a:gd name="T2" fmla="*/ 267 w 267"/>
                <a:gd name="T3" fmla="*/ 144 h 272"/>
                <a:gd name="T4" fmla="*/ 79 w 267"/>
                <a:gd name="T5" fmla="*/ 272 h 272"/>
                <a:gd name="T6" fmla="*/ 0 w 267"/>
                <a:gd name="T7" fmla="*/ 204 h 272"/>
                <a:gd name="T8" fmla="*/ 101 w 267"/>
                <a:gd name="T9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272">
                  <a:moveTo>
                    <a:pt x="101" y="0"/>
                  </a:moveTo>
                  <a:lnTo>
                    <a:pt x="267" y="144"/>
                  </a:lnTo>
                  <a:lnTo>
                    <a:pt x="79" y="272"/>
                  </a:lnTo>
                  <a:lnTo>
                    <a:pt x="0" y="204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34" name="îsḷïdê">
              <a:extLst>
                <a:ext uri="{FF2B5EF4-FFF2-40B4-BE49-F238E27FC236}">
                  <a16:creationId xmlns:a16="http://schemas.microsoft.com/office/drawing/2014/main" id="{16AC9EE8-1306-4A1E-BB75-845CA6860A56}"/>
                </a:ext>
              </a:extLst>
            </p:cNvPr>
            <p:cNvSpPr/>
            <p:nvPr/>
          </p:nvSpPr>
          <p:spPr bwMode="auto">
            <a:xfrm>
              <a:off x="6922260" y="3757242"/>
              <a:ext cx="309639" cy="302836"/>
            </a:xfrm>
            <a:custGeom>
              <a:avLst/>
              <a:gdLst>
                <a:gd name="T0" fmla="*/ 144 w 273"/>
                <a:gd name="T1" fmla="*/ 0 h 267"/>
                <a:gd name="T2" fmla="*/ 0 w 273"/>
                <a:gd name="T3" fmla="*/ 166 h 267"/>
                <a:gd name="T4" fmla="*/ 204 w 273"/>
                <a:gd name="T5" fmla="*/ 267 h 267"/>
                <a:gd name="T6" fmla="*/ 273 w 273"/>
                <a:gd name="T7" fmla="*/ 187 h 267"/>
                <a:gd name="T8" fmla="*/ 144 w 273"/>
                <a:gd name="T9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67">
                  <a:moveTo>
                    <a:pt x="144" y="0"/>
                  </a:moveTo>
                  <a:lnTo>
                    <a:pt x="0" y="166"/>
                  </a:lnTo>
                  <a:lnTo>
                    <a:pt x="204" y="267"/>
                  </a:lnTo>
                  <a:lnTo>
                    <a:pt x="273" y="187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35" name="ïŝlíďe">
              <a:extLst>
                <a:ext uri="{FF2B5EF4-FFF2-40B4-BE49-F238E27FC236}">
                  <a16:creationId xmlns:a16="http://schemas.microsoft.com/office/drawing/2014/main" id="{3BCAF280-F35A-414B-937C-A0E04062D9DA}"/>
                </a:ext>
              </a:extLst>
            </p:cNvPr>
            <p:cNvSpPr/>
            <p:nvPr/>
          </p:nvSpPr>
          <p:spPr bwMode="auto">
            <a:xfrm>
              <a:off x="6842865" y="2659326"/>
              <a:ext cx="302834" cy="309640"/>
            </a:xfrm>
            <a:custGeom>
              <a:avLst/>
              <a:gdLst>
                <a:gd name="T0" fmla="*/ 166 w 267"/>
                <a:gd name="T1" fmla="*/ 273 h 273"/>
                <a:gd name="T2" fmla="*/ 0 w 267"/>
                <a:gd name="T3" fmla="*/ 129 h 273"/>
                <a:gd name="T4" fmla="*/ 188 w 267"/>
                <a:gd name="T5" fmla="*/ 0 h 273"/>
                <a:gd name="T6" fmla="*/ 267 w 267"/>
                <a:gd name="T7" fmla="*/ 69 h 273"/>
                <a:gd name="T8" fmla="*/ 166 w 267"/>
                <a:gd name="T9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273">
                  <a:moveTo>
                    <a:pt x="166" y="273"/>
                  </a:moveTo>
                  <a:lnTo>
                    <a:pt x="0" y="129"/>
                  </a:lnTo>
                  <a:lnTo>
                    <a:pt x="188" y="0"/>
                  </a:lnTo>
                  <a:lnTo>
                    <a:pt x="267" y="69"/>
                  </a:lnTo>
                  <a:lnTo>
                    <a:pt x="166" y="27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36" name="íŝlíďè">
              <a:extLst>
                <a:ext uri="{FF2B5EF4-FFF2-40B4-BE49-F238E27FC236}">
                  <a16:creationId xmlns:a16="http://schemas.microsoft.com/office/drawing/2014/main" id="{5324EAE0-FC34-4D4C-AD87-096122F19389}"/>
                </a:ext>
              </a:extLst>
            </p:cNvPr>
            <p:cNvSpPr/>
            <p:nvPr/>
          </p:nvSpPr>
          <p:spPr bwMode="auto">
            <a:xfrm>
              <a:off x="5552133" y="3326241"/>
              <a:ext cx="262001" cy="247258"/>
            </a:xfrm>
            <a:custGeom>
              <a:avLst/>
              <a:gdLst>
                <a:gd name="T0" fmla="*/ 231 w 231"/>
                <a:gd name="T1" fmla="*/ 218 h 218"/>
                <a:gd name="T2" fmla="*/ 216 w 231"/>
                <a:gd name="T3" fmla="*/ 0 h 218"/>
                <a:gd name="T4" fmla="*/ 0 w 231"/>
                <a:gd name="T5" fmla="*/ 72 h 218"/>
                <a:gd name="T6" fmla="*/ 7 w 231"/>
                <a:gd name="T7" fmla="*/ 176 h 218"/>
                <a:gd name="T8" fmla="*/ 231 w 231"/>
                <a:gd name="T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218">
                  <a:moveTo>
                    <a:pt x="231" y="218"/>
                  </a:moveTo>
                  <a:lnTo>
                    <a:pt x="216" y="0"/>
                  </a:lnTo>
                  <a:lnTo>
                    <a:pt x="0" y="72"/>
                  </a:lnTo>
                  <a:lnTo>
                    <a:pt x="7" y="176"/>
                  </a:lnTo>
                  <a:lnTo>
                    <a:pt x="231" y="21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37" name="ïśļíḍé">
              <a:extLst>
                <a:ext uri="{FF2B5EF4-FFF2-40B4-BE49-F238E27FC236}">
                  <a16:creationId xmlns:a16="http://schemas.microsoft.com/office/drawing/2014/main" id="{98025608-4AAE-4955-B695-8C6712947A12}"/>
                </a:ext>
              </a:extLst>
            </p:cNvPr>
            <p:cNvSpPr/>
            <p:nvPr/>
          </p:nvSpPr>
          <p:spPr bwMode="auto">
            <a:xfrm>
              <a:off x="6410730" y="4075956"/>
              <a:ext cx="249527" cy="260869"/>
            </a:xfrm>
            <a:custGeom>
              <a:avLst/>
              <a:gdLst>
                <a:gd name="T0" fmla="*/ 0 w 220"/>
                <a:gd name="T1" fmla="*/ 15 h 230"/>
                <a:gd name="T2" fmla="*/ 220 w 220"/>
                <a:gd name="T3" fmla="*/ 0 h 230"/>
                <a:gd name="T4" fmla="*/ 178 w 220"/>
                <a:gd name="T5" fmla="*/ 223 h 230"/>
                <a:gd name="T6" fmla="*/ 73 w 220"/>
                <a:gd name="T7" fmla="*/ 230 h 230"/>
                <a:gd name="T8" fmla="*/ 0 w 220"/>
                <a:gd name="T9" fmla="*/ 15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230">
                  <a:moveTo>
                    <a:pt x="0" y="15"/>
                  </a:moveTo>
                  <a:lnTo>
                    <a:pt x="220" y="0"/>
                  </a:lnTo>
                  <a:lnTo>
                    <a:pt x="178" y="223"/>
                  </a:lnTo>
                  <a:lnTo>
                    <a:pt x="73" y="23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38" name="iṣḷiḍè">
              <a:extLst>
                <a:ext uri="{FF2B5EF4-FFF2-40B4-BE49-F238E27FC236}">
                  <a16:creationId xmlns:a16="http://schemas.microsoft.com/office/drawing/2014/main" id="{399EE4FB-2791-46D0-948F-540715534C63}"/>
                </a:ext>
              </a:extLst>
            </p:cNvPr>
            <p:cNvSpPr/>
            <p:nvPr/>
          </p:nvSpPr>
          <p:spPr bwMode="auto">
            <a:xfrm>
              <a:off x="7161578" y="3230968"/>
              <a:ext cx="262001" cy="248393"/>
            </a:xfrm>
            <a:custGeom>
              <a:avLst/>
              <a:gdLst>
                <a:gd name="T0" fmla="*/ 0 w 231"/>
                <a:gd name="T1" fmla="*/ 0 h 219"/>
                <a:gd name="T2" fmla="*/ 15 w 231"/>
                <a:gd name="T3" fmla="*/ 219 h 219"/>
                <a:gd name="T4" fmla="*/ 231 w 231"/>
                <a:gd name="T5" fmla="*/ 147 h 219"/>
                <a:gd name="T6" fmla="*/ 224 w 231"/>
                <a:gd name="T7" fmla="*/ 42 h 219"/>
                <a:gd name="T8" fmla="*/ 0 w 231"/>
                <a:gd name="T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219">
                  <a:moveTo>
                    <a:pt x="0" y="0"/>
                  </a:moveTo>
                  <a:lnTo>
                    <a:pt x="15" y="219"/>
                  </a:lnTo>
                  <a:lnTo>
                    <a:pt x="231" y="147"/>
                  </a:lnTo>
                  <a:lnTo>
                    <a:pt x="224" y="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39" name="iṧḻíḓè">
              <a:extLst>
                <a:ext uri="{FF2B5EF4-FFF2-40B4-BE49-F238E27FC236}">
                  <a16:creationId xmlns:a16="http://schemas.microsoft.com/office/drawing/2014/main" id="{45C4900C-8A04-438A-B8F9-31C5A239195E}"/>
                </a:ext>
              </a:extLst>
            </p:cNvPr>
            <p:cNvSpPr/>
            <p:nvPr/>
          </p:nvSpPr>
          <p:spPr bwMode="auto">
            <a:xfrm>
              <a:off x="6316591" y="2467644"/>
              <a:ext cx="248392" cy="262003"/>
            </a:xfrm>
            <a:custGeom>
              <a:avLst/>
              <a:gdLst>
                <a:gd name="T0" fmla="*/ 219 w 219"/>
                <a:gd name="T1" fmla="*/ 216 h 231"/>
                <a:gd name="T2" fmla="*/ 0 w 219"/>
                <a:gd name="T3" fmla="*/ 231 h 231"/>
                <a:gd name="T4" fmla="*/ 42 w 219"/>
                <a:gd name="T5" fmla="*/ 7 h 231"/>
                <a:gd name="T6" fmla="*/ 146 w 219"/>
                <a:gd name="T7" fmla="*/ 0 h 231"/>
                <a:gd name="T8" fmla="*/ 219 w 219"/>
                <a:gd name="T9" fmla="*/ 2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31">
                  <a:moveTo>
                    <a:pt x="219" y="216"/>
                  </a:moveTo>
                  <a:lnTo>
                    <a:pt x="0" y="231"/>
                  </a:lnTo>
                  <a:lnTo>
                    <a:pt x="42" y="7"/>
                  </a:lnTo>
                  <a:lnTo>
                    <a:pt x="146" y="0"/>
                  </a:lnTo>
                  <a:lnTo>
                    <a:pt x="219" y="21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40" name="iṣḻíďè">
              <a:extLst>
                <a:ext uri="{FF2B5EF4-FFF2-40B4-BE49-F238E27FC236}">
                  <a16:creationId xmlns:a16="http://schemas.microsoft.com/office/drawing/2014/main" id="{F5F9B90F-5D33-4799-9C16-94C6BBBFA2DD}"/>
                </a:ext>
              </a:extLst>
            </p:cNvPr>
            <p:cNvSpPr/>
            <p:nvPr/>
          </p:nvSpPr>
          <p:spPr bwMode="auto">
            <a:xfrm>
              <a:off x="5801660" y="2717170"/>
              <a:ext cx="1372395" cy="1371262"/>
            </a:xfrm>
            <a:custGeom>
              <a:avLst/>
              <a:gdLst>
                <a:gd name="T0" fmla="*/ 165 w 1552"/>
                <a:gd name="T1" fmla="*/ 1075 h 1552"/>
                <a:gd name="T2" fmla="*/ 1076 w 1552"/>
                <a:gd name="T3" fmla="*/ 1387 h 1552"/>
                <a:gd name="T4" fmla="*/ 1387 w 1552"/>
                <a:gd name="T5" fmla="*/ 477 h 1552"/>
                <a:gd name="T6" fmla="*/ 477 w 1552"/>
                <a:gd name="T7" fmla="*/ 165 h 1552"/>
                <a:gd name="T8" fmla="*/ 165 w 1552"/>
                <a:gd name="T9" fmla="*/ 1075 h 1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2" h="1552">
                  <a:moveTo>
                    <a:pt x="165" y="1075"/>
                  </a:moveTo>
                  <a:cubicBezTo>
                    <a:pt x="331" y="1413"/>
                    <a:pt x="738" y="1552"/>
                    <a:pt x="1076" y="1387"/>
                  </a:cubicBezTo>
                  <a:cubicBezTo>
                    <a:pt x="1413" y="1221"/>
                    <a:pt x="1552" y="814"/>
                    <a:pt x="1387" y="477"/>
                  </a:cubicBezTo>
                  <a:cubicBezTo>
                    <a:pt x="1222" y="139"/>
                    <a:pt x="814" y="0"/>
                    <a:pt x="477" y="165"/>
                  </a:cubicBezTo>
                  <a:cubicBezTo>
                    <a:pt x="139" y="331"/>
                    <a:pt x="0" y="738"/>
                    <a:pt x="165" y="10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41" name="ïśliḓè">
              <a:extLst>
                <a:ext uri="{FF2B5EF4-FFF2-40B4-BE49-F238E27FC236}">
                  <a16:creationId xmlns:a16="http://schemas.microsoft.com/office/drawing/2014/main" id="{BE97110E-A510-4255-9AEC-31A4FDBF5773}"/>
                </a:ext>
              </a:extLst>
            </p:cNvPr>
            <p:cNvSpPr/>
            <p:nvPr/>
          </p:nvSpPr>
          <p:spPr bwMode="auto">
            <a:xfrm>
              <a:off x="4289757" y="1833619"/>
              <a:ext cx="1514171" cy="1513040"/>
            </a:xfrm>
            <a:custGeom>
              <a:avLst/>
              <a:gdLst>
                <a:gd name="T0" fmla="*/ 115 w 1712"/>
                <a:gd name="T1" fmla="*/ 1065 h 1713"/>
                <a:gd name="T2" fmla="*/ 1065 w 1712"/>
                <a:gd name="T3" fmla="*/ 1597 h 1713"/>
                <a:gd name="T4" fmla="*/ 1597 w 1712"/>
                <a:gd name="T5" fmla="*/ 647 h 1713"/>
                <a:gd name="T6" fmla="*/ 647 w 1712"/>
                <a:gd name="T7" fmla="*/ 116 h 1713"/>
                <a:gd name="T8" fmla="*/ 115 w 1712"/>
                <a:gd name="T9" fmla="*/ 1065 h 1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2" h="1713">
                  <a:moveTo>
                    <a:pt x="115" y="1065"/>
                  </a:moveTo>
                  <a:cubicBezTo>
                    <a:pt x="231" y="1475"/>
                    <a:pt x="656" y="1713"/>
                    <a:pt x="1065" y="1597"/>
                  </a:cubicBezTo>
                  <a:cubicBezTo>
                    <a:pt x="1474" y="1482"/>
                    <a:pt x="1712" y="1056"/>
                    <a:pt x="1597" y="647"/>
                  </a:cubicBezTo>
                  <a:cubicBezTo>
                    <a:pt x="1481" y="238"/>
                    <a:pt x="1056" y="0"/>
                    <a:pt x="647" y="116"/>
                  </a:cubicBezTo>
                  <a:cubicBezTo>
                    <a:pt x="238" y="231"/>
                    <a:pt x="0" y="656"/>
                    <a:pt x="115" y="106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42" name="ísḻïďé">
              <a:extLst>
                <a:ext uri="{FF2B5EF4-FFF2-40B4-BE49-F238E27FC236}">
                  <a16:creationId xmlns:a16="http://schemas.microsoft.com/office/drawing/2014/main" id="{3DFC5F43-0EC9-4302-8BA8-F22B9AF99E15}"/>
                </a:ext>
              </a:extLst>
            </p:cNvPr>
            <p:cNvSpPr/>
            <p:nvPr/>
          </p:nvSpPr>
          <p:spPr bwMode="auto">
            <a:xfrm>
              <a:off x="4464426" y="2008288"/>
              <a:ext cx="1164833" cy="1163702"/>
            </a:xfrm>
            <a:custGeom>
              <a:avLst/>
              <a:gdLst>
                <a:gd name="T0" fmla="*/ 88 w 1317"/>
                <a:gd name="T1" fmla="*/ 819 h 1317"/>
                <a:gd name="T2" fmla="*/ 819 w 1317"/>
                <a:gd name="T3" fmla="*/ 1228 h 1317"/>
                <a:gd name="T4" fmla="*/ 1228 w 1317"/>
                <a:gd name="T5" fmla="*/ 498 h 1317"/>
                <a:gd name="T6" fmla="*/ 497 w 1317"/>
                <a:gd name="T7" fmla="*/ 89 h 1317"/>
                <a:gd name="T8" fmla="*/ 88 w 1317"/>
                <a:gd name="T9" fmla="*/ 819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7" h="1317">
                  <a:moveTo>
                    <a:pt x="88" y="819"/>
                  </a:moveTo>
                  <a:cubicBezTo>
                    <a:pt x="177" y="1134"/>
                    <a:pt x="504" y="1317"/>
                    <a:pt x="819" y="1228"/>
                  </a:cubicBezTo>
                  <a:cubicBezTo>
                    <a:pt x="1134" y="1139"/>
                    <a:pt x="1317" y="812"/>
                    <a:pt x="1228" y="498"/>
                  </a:cubicBezTo>
                  <a:cubicBezTo>
                    <a:pt x="1139" y="183"/>
                    <a:pt x="812" y="0"/>
                    <a:pt x="497" y="89"/>
                  </a:cubicBezTo>
                  <a:cubicBezTo>
                    <a:pt x="183" y="177"/>
                    <a:pt x="0" y="505"/>
                    <a:pt x="88" y="8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43" name="ïṣ1ïdé">
              <a:extLst>
                <a:ext uri="{FF2B5EF4-FFF2-40B4-BE49-F238E27FC236}">
                  <a16:creationId xmlns:a16="http://schemas.microsoft.com/office/drawing/2014/main" id="{078E1FC0-BAA5-4655-BD8E-A5D995F9F398}"/>
                </a:ext>
              </a:extLst>
            </p:cNvPr>
            <p:cNvSpPr/>
            <p:nvPr/>
          </p:nvSpPr>
          <p:spPr bwMode="auto">
            <a:xfrm>
              <a:off x="4775200" y="1792787"/>
              <a:ext cx="214365" cy="256331"/>
            </a:xfrm>
            <a:custGeom>
              <a:avLst/>
              <a:gdLst>
                <a:gd name="T0" fmla="*/ 5 w 189"/>
                <a:gd name="T1" fmla="*/ 226 h 226"/>
                <a:gd name="T2" fmla="*/ 189 w 189"/>
                <a:gd name="T3" fmla="*/ 175 h 226"/>
                <a:gd name="T4" fmla="*/ 88 w 189"/>
                <a:gd name="T5" fmla="*/ 0 h 226"/>
                <a:gd name="T6" fmla="*/ 0 w 189"/>
                <a:gd name="T7" fmla="*/ 25 h 226"/>
                <a:gd name="T8" fmla="*/ 5 w 189"/>
                <a:gd name="T9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226">
                  <a:moveTo>
                    <a:pt x="5" y="226"/>
                  </a:moveTo>
                  <a:lnTo>
                    <a:pt x="189" y="175"/>
                  </a:lnTo>
                  <a:lnTo>
                    <a:pt x="88" y="0"/>
                  </a:lnTo>
                  <a:lnTo>
                    <a:pt x="0" y="25"/>
                  </a:lnTo>
                  <a:lnTo>
                    <a:pt x="5" y="2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44" name="iṥḻîḓé">
              <a:extLst>
                <a:ext uri="{FF2B5EF4-FFF2-40B4-BE49-F238E27FC236}">
                  <a16:creationId xmlns:a16="http://schemas.microsoft.com/office/drawing/2014/main" id="{E408C324-8707-4BD0-9E13-27D6BA9D2222}"/>
                </a:ext>
              </a:extLst>
            </p:cNvPr>
            <p:cNvSpPr/>
            <p:nvPr/>
          </p:nvSpPr>
          <p:spPr bwMode="auto">
            <a:xfrm>
              <a:off x="4247792" y="2646850"/>
              <a:ext cx="257466" cy="214367"/>
            </a:xfrm>
            <a:custGeom>
              <a:avLst/>
              <a:gdLst>
                <a:gd name="T0" fmla="*/ 175 w 227"/>
                <a:gd name="T1" fmla="*/ 0 h 189"/>
                <a:gd name="T2" fmla="*/ 227 w 227"/>
                <a:gd name="T3" fmla="*/ 184 h 189"/>
                <a:gd name="T4" fmla="*/ 25 w 227"/>
                <a:gd name="T5" fmla="*/ 189 h 189"/>
                <a:gd name="T6" fmla="*/ 0 w 227"/>
                <a:gd name="T7" fmla="*/ 102 h 189"/>
                <a:gd name="T8" fmla="*/ 175 w 227"/>
                <a:gd name="T9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89">
                  <a:moveTo>
                    <a:pt x="175" y="0"/>
                  </a:moveTo>
                  <a:lnTo>
                    <a:pt x="227" y="184"/>
                  </a:lnTo>
                  <a:lnTo>
                    <a:pt x="25" y="189"/>
                  </a:lnTo>
                  <a:lnTo>
                    <a:pt x="0" y="102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45" name="îṩļïďe">
              <a:extLst>
                <a:ext uri="{FF2B5EF4-FFF2-40B4-BE49-F238E27FC236}">
                  <a16:creationId xmlns:a16="http://schemas.microsoft.com/office/drawing/2014/main" id="{721296B0-AB44-4ED3-9301-BBE6ECFD7B95}"/>
                </a:ext>
              </a:extLst>
            </p:cNvPr>
            <p:cNvSpPr/>
            <p:nvPr/>
          </p:nvSpPr>
          <p:spPr bwMode="auto">
            <a:xfrm>
              <a:off x="5102986" y="3130025"/>
              <a:ext cx="215500" cy="257466"/>
            </a:xfrm>
            <a:custGeom>
              <a:avLst/>
              <a:gdLst>
                <a:gd name="T0" fmla="*/ 184 w 190"/>
                <a:gd name="T1" fmla="*/ 0 h 227"/>
                <a:gd name="T2" fmla="*/ 0 w 190"/>
                <a:gd name="T3" fmla="*/ 52 h 227"/>
                <a:gd name="T4" fmla="*/ 102 w 190"/>
                <a:gd name="T5" fmla="*/ 227 h 227"/>
                <a:gd name="T6" fmla="*/ 190 w 190"/>
                <a:gd name="T7" fmla="*/ 202 h 227"/>
                <a:gd name="T8" fmla="*/ 184 w 190"/>
                <a:gd name="T9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227">
                  <a:moveTo>
                    <a:pt x="184" y="0"/>
                  </a:moveTo>
                  <a:lnTo>
                    <a:pt x="0" y="52"/>
                  </a:lnTo>
                  <a:lnTo>
                    <a:pt x="102" y="227"/>
                  </a:lnTo>
                  <a:lnTo>
                    <a:pt x="190" y="202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46" name="íślíḋè">
              <a:extLst>
                <a:ext uri="{FF2B5EF4-FFF2-40B4-BE49-F238E27FC236}">
                  <a16:creationId xmlns:a16="http://schemas.microsoft.com/office/drawing/2014/main" id="{B66B8BC5-B1AF-4EBE-A312-670620576C0D}"/>
                </a:ext>
              </a:extLst>
            </p:cNvPr>
            <p:cNvSpPr/>
            <p:nvPr/>
          </p:nvSpPr>
          <p:spPr bwMode="auto">
            <a:xfrm>
              <a:off x="5587294" y="2320197"/>
              <a:ext cx="258600" cy="213232"/>
            </a:xfrm>
            <a:custGeom>
              <a:avLst/>
              <a:gdLst>
                <a:gd name="T0" fmla="*/ 52 w 228"/>
                <a:gd name="T1" fmla="*/ 188 h 188"/>
                <a:gd name="T2" fmla="*/ 0 w 228"/>
                <a:gd name="T3" fmla="*/ 4 h 188"/>
                <a:gd name="T4" fmla="*/ 203 w 228"/>
                <a:gd name="T5" fmla="*/ 0 h 188"/>
                <a:gd name="T6" fmla="*/ 228 w 228"/>
                <a:gd name="T7" fmla="*/ 87 h 188"/>
                <a:gd name="T8" fmla="*/ 52 w 228"/>
                <a:gd name="T9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188">
                  <a:moveTo>
                    <a:pt x="52" y="188"/>
                  </a:moveTo>
                  <a:lnTo>
                    <a:pt x="0" y="4"/>
                  </a:lnTo>
                  <a:lnTo>
                    <a:pt x="203" y="0"/>
                  </a:lnTo>
                  <a:lnTo>
                    <a:pt x="228" y="87"/>
                  </a:lnTo>
                  <a:lnTo>
                    <a:pt x="52" y="1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47" name="iSḻïḑe">
              <a:extLst>
                <a:ext uri="{FF2B5EF4-FFF2-40B4-BE49-F238E27FC236}">
                  <a16:creationId xmlns:a16="http://schemas.microsoft.com/office/drawing/2014/main" id="{B5CB1B1E-644C-4D55-8497-5F4FB2CBE58B}"/>
                </a:ext>
              </a:extLst>
            </p:cNvPr>
            <p:cNvSpPr/>
            <p:nvPr/>
          </p:nvSpPr>
          <p:spPr bwMode="auto">
            <a:xfrm>
              <a:off x="4311307" y="2147797"/>
              <a:ext cx="268807" cy="247258"/>
            </a:xfrm>
            <a:custGeom>
              <a:avLst/>
              <a:gdLst>
                <a:gd name="T0" fmla="*/ 144 w 237"/>
                <a:gd name="T1" fmla="*/ 218 h 218"/>
                <a:gd name="T2" fmla="*/ 237 w 237"/>
                <a:gd name="T3" fmla="*/ 51 h 218"/>
                <a:gd name="T4" fmla="*/ 45 w 237"/>
                <a:gd name="T5" fmla="*/ 0 h 218"/>
                <a:gd name="T6" fmla="*/ 0 w 237"/>
                <a:gd name="T7" fmla="*/ 80 h 218"/>
                <a:gd name="T8" fmla="*/ 144 w 237"/>
                <a:gd name="T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218">
                  <a:moveTo>
                    <a:pt x="144" y="218"/>
                  </a:moveTo>
                  <a:lnTo>
                    <a:pt x="237" y="51"/>
                  </a:lnTo>
                  <a:lnTo>
                    <a:pt x="45" y="0"/>
                  </a:lnTo>
                  <a:lnTo>
                    <a:pt x="0" y="80"/>
                  </a:lnTo>
                  <a:lnTo>
                    <a:pt x="144" y="2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48" name="iśḻíde">
              <a:extLst>
                <a:ext uri="{FF2B5EF4-FFF2-40B4-BE49-F238E27FC236}">
                  <a16:creationId xmlns:a16="http://schemas.microsoft.com/office/drawing/2014/main" id="{1FB422BC-885A-4FB1-B310-5B99162962D9}"/>
                </a:ext>
              </a:extLst>
            </p:cNvPr>
            <p:cNvSpPr/>
            <p:nvPr/>
          </p:nvSpPr>
          <p:spPr bwMode="auto">
            <a:xfrm>
              <a:off x="4603935" y="3056300"/>
              <a:ext cx="246123" cy="267674"/>
            </a:xfrm>
            <a:custGeom>
              <a:avLst/>
              <a:gdLst>
                <a:gd name="T0" fmla="*/ 50 w 217"/>
                <a:gd name="T1" fmla="*/ 0 h 236"/>
                <a:gd name="T2" fmla="*/ 217 w 217"/>
                <a:gd name="T3" fmla="*/ 94 h 236"/>
                <a:gd name="T4" fmla="*/ 80 w 217"/>
                <a:gd name="T5" fmla="*/ 236 h 236"/>
                <a:gd name="T6" fmla="*/ 0 w 217"/>
                <a:gd name="T7" fmla="*/ 192 h 236"/>
                <a:gd name="T8" fmla="*/ 50 w 217"/>
                <a:gd name="T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36">
                  <a:moveTo>
                    <a:pt x="50" y="0"/>
                  </a:moveTo>
                  <a:lnTo>
                    <a:pt x="217" y="94"/>
                  </a:lnTo>
                  <a:lnTo>
                    <a:pt x="80" y="236"/>
                  </a:lnTo>
                  <a:lnTo>
                    <a:pt x="0" y="19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49" name="ïSľiḋè">
              <a:extLst>
                <a:ext uri="{FF2B5EF4-FFF2-40B4-BE49-F238E27FC236}">
                  <a16:creationId xmlns:a16="http://schemas.microsoft.com/office/drawing/2014/main" id="{BD2A5200-DFEA-449A-A91E-717E4452FDF0}"/>
                </a:ext>
              </a:extLst>
            </p:cNvPr>
            <p:cNvSpPr/>
            <p:nvPr/>
          </p:nvSpPr>
          <p:spPr bwMode="auto">
            <a:xfrm>
              <a:off x="5513571" y="2786358"/>
              <a:ext cx="268807" cy="244990"/>
            </a:xfrm>
            <a:custGeom>
              <a:avLst/>
              <a:gdLst>
                <a:gd name="T0" fmla="*/ 93 w 237"/>
                <a:gd name="T1" fmla="*/ 0 h 216"/>
                <a:gd name="T2" fmla="*/ 0 w 237"/>
                <a:gd name="T3" fmla="*/ 166 h 216"/>
                <a:gd name="T4" fmla="*/ 192 w 237"/>
                <a:gd name="T5" fmla="*/ 216 h 216"/>
                <a:gd name="T6" fmla="*/ 237 w 237"/>
                <a:gd name="T7" fmla="*/ 137 h 216"/>
                <a:gd name="T8" fmla="*/ 93 w 237"/>
                <a:gd name="T9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216">
                  <a:moveTo>
                    <a:pt x="93" y="0"/>
                  </a:moveTo>
                  <a:lnTo>
                    <a:pt x="0" y="166"/>
                  </a:lnTo>
                  <a:lnTo>
                    <a:pt x="192" y="216"/>
                  </a:lnTo>
                  <a:lnTo>
                    <a:pt x="237" y="137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50" name="îṡļïḑè">
              <a:extLst>
                <a:ext uri="{FF2B5EF4-FFF2-40B4-BE49-F238E27FC236}">
                  <a16:creationId xmlns:a16="http://schemas.microsoft.com/office/drawing/2014/main" id="{5748C7A3-211D-4610-85DD-B3059B412E8C}"/>
                </a:ext>
              </a:extLst>
            </p:cNvPr>
            <p:cNvSpPr/>
            <p:nvPr/>
          </p:nvSpPr>
          <p:spPr bwMode="auto">
            <a:xfrm>
              <a:off x="5242494" y="1856304"/>
              <a:ext cx="246123" cy="267674"/>
            </a:xfrm>
            <a:custGeom>
              <a:avLst/>
              <a:gdLst>
                <a:gd name="T0" fmla="*/ 167 w 217"/>
                <a:gd name="T1" fmla="*/ 236 h 236"/>
                <a:gd name="T2" fmla="*/ 0 w 217"/>
                <a:gd name="T3" fmla="*/ 143 h 236"/>
                <a:gd name="T4" fmla="*/ 138 w 217"/>
                <a:gd name="T5" fmla="*/ 0 h 236"/>
                <a:gd name="T6" fmla="*/ 217 w 217"/>
                <a:gd name="T7" fmla="*/ 45 h 236"/>
                <a:gd name="T8" fmla="*/ 167 w 217"/>
                <a:gd name="T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36">
                  <a:moveTo>
                    <a:pt x="167" y="236"/>
                  </a:moveTo>
                  <a:lnTo>
                    <a:pt x="0" y="143"/>
                  </a:lnTo>
                  <a:lnTo>
                    <a:pt x="138" y="0"/>
                  </a:lnTo>
                  <a:lnTo>
                    <a:pt x="217" y="45"/>
                  </a:lnTo>
                  <a:lnTo>
                    <a:pt x="167" y="23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51" name="ïṥ1îḑé">
              <a:extLst>
                <a:ext uri="{FF2B5EF4-FFF2-40B4-BE49-F238E27FC236}">
                  <a16:creationId xmlns:a16="http://schemas.microsoft.com/office/drawing/2014/main" id="{BC984AC0-6A56-4F40-AEBB-AD4EDDB47AF8}"/>
                </a:ext>
              </a:extLst>
            </p:cNvPr>
            <p:cNvSpPr/>
            <p:nvPr/>
          </p:nvSpPr>
          <p:spPr bwMode="auto">
            <a:xfrm>
              <a:off x="4498452" y="1924357"/>
              <a:ext cx="262001" cy="268809"/>
            </a:xfrm>
            <a:custGeom>
              <a:avLst/>
              <a:gdLst>
                <a:gd name="T0" fmla="*/ 81 w 231"/>
                <a:gd name="T1" fmla="*/ 237 h 237"/>
                <a:gd name="T2" fmla="*/ 231 w 231"/>
                <a:gd name="T3" fmla="*/ 118 h 237"/>
                <a:gd name="T4" fmla="*/ 71 w 231"/>
                <a:gd name="T5" fmla="*/ 0 h 237"/>
                <a:gd name="T6" fmla="*/ 0 w 231"/>
                <a:gd name="T7" fmla="*/ 57 h 237"/>
                <a:gd name="T8" fmla="*/ 81 w 231"/>
                <a:gd name="T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237">
                  <a:moveTo>
                    <a:pt x="81" y="237"/>
                  </a:moveTo>
                  <a:lnTo>
                    <a:pt x="231" y="118"/>
                  </a:lnTo>
                  <a:lnTo>
                    <a:pt x="71" y="0"/>
                  </a:lnTo>
                  <a:lnTo>
                    <a:pt x="0" y="57"/>
                  </a:lnTo>
                  <a:lnTo>
                    <a:pt x="81" y="23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52" name="íṩlîḓe">
              <a:extLst>
                <a:ext uri="{FF2B5EF4-FFF2-40B4-BE49-F238E27FC236}">
                  <a16:creationId xmlns:a16="http://schemas.microsoft.com/office/drawing/2014/main" id="{B3286418-0BAF-4647-B45B-EC6D31310D77}"/>
                </a:ext>
              </a:extLst>
            </p:cNvPr>
            <p:cNvSpPr/>
            <p:nvPr/>
          </p:nvSpPr>
          <p:spPr bwMode="auto">
            <a:xfrm>
              <a:off x="4379360" y="2877095"/>
              <a:ext cx="269941" cy="260869"/>
            </a:xfrm>
            <a:custGeom>
              <a:avLst/>
              <a:gdLst>
                <a:gd name="T0" fmla="*/ 119 w 238"/>
                <a:gd name="T1" fmla="*/ 0 h 230"/>
                <a:gd name="T2" fmla="*/ 238 w 238"/>
                <a:gd name="T3" fmla="*/ 149 h 230"/>
                <a:gd name="T4" fmla="*/ 57 w 238"/>
                <a:gd name="T5" fmla="*/ 230 h 230"/>
                <a:gd name="T6" fmla="*/ 0 w 238"/>
                <a:gd name="T7" fmla="*/ 159 h 230"/>
                <a:gd name="T8" fmla="*/ 119 w 238"/>
                <a:gd name="T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230">
                  <a:moveTo>
                    <a:pt x="119" y="0"/>
                  </a:moveTo>
                  <a:lnTo>
                    <a:pt x="238" y="149"/>
                  </a:lnTo>
                  <a:lnTo>
                    <a:pt x="57" y="230"/>
                  </a:lnTo>
                  <a:lnTo>
                    <a:pt x="0" y="159"/>
                  </a:lnTo>
                  <a:lnTo>
                    <a:pt x="11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53" name="îsḻïḍè">
              <a:extLst>
                <a:ext uri="{FF2B5EF4-FFF2-40B4-BE49-F238E27FC236}">
                  <a16:creationId xmlns:a16="http://schemas.microsoft.com/office/drawing/2014/main" id="{334BB82C-C798-48BF-94E1-26C79252ED1D}"/>
                </a:ext>
              </a:extLst>
            </p:cNvPr>
            <p:cNvSpPr/>
            <p:nvPr/>
          </p:nvSpPr>
          <p:spPr bwMode="auto">
            <a:xfrm>
              <a:off x="5334365" y="2987114"/>
              <a:ext cx="260869" cy="269943"/>
            </a:xfrm>
            <a:custGeom>
              <a:avLst/>
              <a:gdLst>
                <a:gd name="T0" fmla="*/ 149 w 230"/>
                <a:gd name="T1" fmla="*/ 0 h 238"/>
                <a:gd name="T2" fmla="*/ 0 w 230"/>
                <a:gd name="T3" fmla="*/ 119 h 238"/>
                <a:gd name="T4" fmla="*/ 158 w 230"/>
                <a:gd name="T5" fmla="*/ 238 h 238"/>
                <a:gd name="T6" fmla="*/ 230 w 230"/>
                <a:gd name="T7" fmla="*/ 181 h 238"/>
                <a:gd name="T8" fmla="*/ 149 w 230"/>
                <a:gd name="T9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38">
                  <a:moveTo>
                    <a:pt x="149" y="0"/>
                  </a:moveTo>
                  <a:lnTo>
                    <a:pt x="0" y="119"/>
                  </a:lnTo>
                  <a:lnTo>
                    <a:pt x="158" y="238"/>
                  </a:lnTo>
                  <a:lnTo>
                    <a:pt x="230" y="181"/>
                  </a:lnTo>
                  <a:lnTo>
                    <a:pt x="14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54" name="îśľíďê">
              <a:extLst>
                <a:ext uri="{FF2B5EF4-FFF2-40B4-BE49-F238E27FC236}">
                  <a16:creationId xmlns:a16="http://schemas.microsoft.com/office/drawing/2014/main" id="{21E01964-D483-4AAE-ADE6-08B3168C0990}"/>
                </a:ext>
              </a:extLst>
            </p:cNvPr>
            <p:cNvSpPr/>
            <p:nvPr/>
          </p:nvSpPr>
          <p:spPr bwMode="auto">
            <a:xfrm>
              <a:off x="5444384" y="2043449"/>
              <a:ext cx="269941" cy="260869"/>
            </a:xfrm>
            <a:custGeom>
              <a:avLst/>
              <a:gdLst>
                <a:gd name="T0" fmla="*/ 119 w 238"/>
                <a:gd name="T1" fmla="*/ 230 h 230"/>
                <a:gd name="T2" fmla="*/ 0 w 238"/>
                <a:gd name="T3" fmla="*/ 80 h 230"/>
                <a:gd name="T4" fmla="*/ 181 w 238"/>
                <a:gd name="T5" fmla="*/ 0 h 230"/>
                <a:gd name="T6" fmla="*/ 238 w 238"/>
                <a:gd name="T7" fmla="*/ 71 h 230"/>
                <a:gd name="T8" fmla="*/ 119 w 238"/>
                <a:gd name="T9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230">
                  <a:moveTo>
                    <a:pt x="119" y="230"/>
                  </a:moveTo>
                  <a:lnTo>
                    <a:pt x="0" y="80"/>
                  </a:lnTo>
                  <a:lnTo>
                    <a:pt x="181" y="0"/>
                  </a:lnTo>
                  <a:lnTo>
                    <a:pt x="238" y="71"/>
                  </a:lnTo>
                  <a:lnTo>
                    <a:pt x="119" y="23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55" name="îS1ïḓê">
              <a:extLst>
                <a:ext uri="{FF2B5EF4-FFF2-40B4-BE49-F238E27FC236}">
                  <a16:creationId xmlns:a16="http://schemas.microsoft.com/office/drawing/2014/main" id="{2B359D50-29B3-4B44-86B4-4142121F5F7C}"/>
                </a:ext>
              </a:extLst>
            </p:cNvPr>
            <p:cNvSpPr/>
            <p:nvPr/>
          </p:nvSpPr>
          <p:spPr bwMode="auto">
            <a:xfrm>
              <a:off x="4233047" y="2416605"/>
              <a:ext cx="233647" cy="215500"/>
            </a:xfrm>
            <a:custGeom>
              <a:avLst/>
              <a:gdLst>
                <a:gd name="T0" fmla="*/ 185 w 206"/>
                <a:gd name="T1" fmla="*/ 190 h 190"/>
                <a:gd name="T2" fmla="*/ 206 w 206"/>
                <a:gd name="T3" fmla="*/ 0 h 190"/>
                <a:gd name="T4" fmla="*/ 10 w 206"/>
                <a:gd name="T5" fmla="*/ 28 h 190"/>
                <a:gd name="T6" fmla="*/ 0 w 206"/>
                <a:gd name="T7" fmla="*/ 119 h 190"/>
                <a:gd name="T8" fmla="*/ 185 w 206"/>
                <a:gd name="T9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190">
                  <a:moveTo>
                    <a:pt x="185" y="190"/>
                  </a:moveTo>
                  <a:lnTo>
                    <a:pt x="206" y="0"/>
                  </a:lnTo>
                  <a:lnTo>
                    <a:pt x="10" y="28"/>
                  </a:lnTo>
                  <a:lnTo>
                    <a:pt x="0" y="119"/>
                  </a:lnTo>
                  <a:lnTo>
                    <a:pt x="185" y="19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56" name="ïṡľîḋe">
              <a:extLst>
                <a:ext uri="{FF2B5EF4-FFF2-40B4-BE49-F238E27FC236}">
                  <a16:creationId xmlns:a16="http://schemas.microsoft.com/office/drawing/2014/main" id="{13898C0A-A56C-4A31-A306-27653D6D9287}"/>
                </a:ext>
              </a:extLst>
            </p:cNvPr>
            <p:cNvSpPr/>
            <p:nvPr/>
          </p:nvSpPr>
          <p:spPr bwMode="auto">
            <a:xfrm>
              <a:off x="4872741" y="3169721"/>
              <a:ext cx="215500" cy="232514"/>
            </a:xfrm>
            <a:custGeom>
              <a:avLst/>
              <a:gdLst>
                <a:gd name="T0" fmla="*/ 0 w 190"/>
                <a:gd name="T1" fmla="*/ 0 h 205"/>
                <a:gd name="T2" fmla="*/ 190 w 190"/>
                <a:gd name="T3" fmla="*/ 21 h 205"/>
                <a:gd name="T4" fmla="*/ 119 w 190"/>
                <a:gd name="T5" fmla="*/ 205 h 205"/>
                <a:gd name="T6" fmla="*/ 28 w 190"/>
                <a:gd name="T7" fmla="*/ 195 h 205"/>
                <a:gd name="T8" fmla="*/ 0 w 190"/>
                <a:gd name="T9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205">
                  <a:moveTo>
                    <a:pt x="0" y="0"/>
                  </a:moveTo>
                  <a:lnTo>
                    <a:pt x="190" y="21"/>
                  </a:lnTo>
                  <a:lnTo>
                    <a:pt x="119" y="205"/>
                  </a:lnTo>
                  <a:lnTo>
                    <a:pt x="28" y="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57" name="ïṡḷídé">
              <a:extLst>
                <a:ext uri="{FF2B5EF4-FFF2-40B4-BE49-F238E27FC236}">
                  <a16:creationId xmlns:a16="http://schemas.microsoft.com/office/drawing/2014/main" id="{7ED134F8-FE9C-46FC-A8AD-D64F0FB38074}"/>
                </a:ext>
              </a:extLst>
            </p:cNvPr>
            <p:cNvSpPr/>
            <p:nvPr/>
          </p:nvSpPr>
          <p:spPr bwMode="auto">
            <a:xfrm>
              <a:off x="5625856" y="2548173"/>
              <a:ext cx="234782" cy="215500"/>
            </a:xfrm>
            <a:custGeom>
              <a:avLst/>
              <a:gdLst>
                <a:gd name="T0" fmla="*/ 22 w 207"/>
                <a:gd name="T1" fmla="*/ 0 h 190"/>
                <a:gd name="T2" fmla="*/ 0 w 207"/>
                <a:gd name="T3" fmla="*/ 190 h 190"/>
                <a:gd name="T4" fmla="*/ 197 w 207"/>
                <a:gd name="T5" fmla="*/ 161 h 190"/>
                <a:gd name="T6" fmla="*/ 207 w 207"/>
                <a:gd name="T7" fmla="*/ 71 h 190"/>
                <a:gd name="T8" fmla="*/ 22 w 207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90">
                  <a:moveTo>
                    <a:pt x="22" y="0"/>
                  </a:moveTo>
                  <a:lnTo>
                    <a:pt x="0" y="190"/>
                  </a:lnTo>
                  <a:lnTo>
                    <a:pt x="197" y="161"/>
                  </a:lnTo>
                  <a:lnTo>
                    <a:pt x="207" y="71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58" name="îṡlíḍe">
              <a:extLst>
                <a:ext uri="{FF2B5EF4-FFF2-40B4-BE49-F238E27FC236}">
                  <a16:creationId xmlns:a16="http://schemas.microsoft.com/office/drawing/2014/main" id="{032287D8-B3F8-4F02-9A29-E32D92A4CCC8}"/>
                </a:ext>
              </a:extLst>
            </p:cNvPr>
            <p:cNvSpPr/>
            <p:nvPr/>
          </p:nvSpPr>
          <p:spPr bwMode="auto">
            <a:xfrm>
              <a:off x="5005445" y="1776909"/>
              <a:ext cx="215500" cy="234782"/>
            </a:xfrm>
            <a:custGeom>
              <a:avLst/>
              <a:gdLst>
                <a:gd name="T0" fmla="*/ 190 w 190"/>
                <a:gd name="T1" fmla="*/ 207 h 207"/>
                <a:gd name="T2" fmla="*/ 0 w 190"/>
                <a:gd name="T3" fmla="*/ 186 h 207"/>
                <a:gd name="T4" fmla="*/ 71 w 190"/>
                <a:gd name="T5" fmla="*/ 0 h 207"/>
                <a:gd name="T6" fmla="*/ 161 w 190"/>
                <a:gd name="T7" fmla="*/ 10 h 207"/>
                <a:gd name="T8" fmla="*/ 190 w 190"/>
                <a:gd name="T9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207">
                  <a:moveTo>
                    <a:pt x="190" y="207"/>
                  </a:moveTo>
                  <a:lnTo>
                    <a:pt x="0" y="186"/>
                  </a:lnTo>
                  <a:lnTo>
                    <a:pt x="71" y="0"/>
                  </a:lnTo>
                  <a:lnTo>
                    <a:pt x="161" y="10"/>
                  </a:lnTo>
                  <a:lnTo>
                    <a:pt x="190" y="2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59" name="íŝḻidè">
              <a:extLst>
                <a:ext uri="{FF2B5EF4-FFF2-40B4-BE49-F238E27FC236}">
                  <a16:creationId xmlns:a16="http://schemas.microsoft.com/office/drawing/2014/main" id="{82D4E14E-4BF6-4B4D-B12D-BBE27DC7AFAE}"/>
                </a:ext>
              </a:extLst>
            </p:cNvPr>
            <p:cNvSpPr/>
            <p:nvPr/>
          </p:nvSpPr>
          <p:spPr bwMode="auto">
            <a:xfrm>
              <a:off x="5402418" y="4165558"/>
              <a:ext cx="821169" cy="818902"/>
            </a:xfrm>
            <a:custGeom>
              <a:avLst/>
              <a:gdLst>
                <a:gd name="T0" fmla="*/ 20 w 928"/>
                <a:gd name="T1" fmla="*/ 499 h 927"/>
                <a:gd name="T2" fmla="*/ 500 w 928"/>
                <a:gd name="T3" fmla="*/ 907 h 927"/>
                <a:gd name="T4" fmla="*/ 908 w 928"/>
                <a:gd name="T5" fmla="*/ 427 h 927"/>
                <a:gd name="T6" fmla="*/ 428 w 928"/>
                <a:gd name="T7" fmla="*/ 19 h 927"/>
                <a:gd name="T8" fmla="*/ 20 w 928"/>
                <a:gd name="T9" fmla="*/ 499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8" h="927">
                  <a:moveTo>
                    <a:pt x="20" y="499"/>
                  </a:moveTo>
                  <a:cubicBezTo>
                    <a:pt x="40" y="745"/>
                    <a:pt x="254" y="927"/>
                    <a:pt x="500" y="907"/>
                  </a:cubicBezTo>
                  <a:cubicBezTo>
                    <a:pt x="745" y="888"/>
                    <a:pt x="928" y="673"/>
                    <a:pt x="908" y="427"/>
                  </a:cubicBezTo>
                  <a:cubicBezTo>
                    <a:pt x="888" y="182"/>
                    <a:pt x="673" y="0"/>
                    <a:pt x="428" y="19"/>
                  </a:cubicBezTo>
                  <a:cubicBezTo>
                    <a:pt x="183" y="39"/>
                    <a:pt x="0" y="254"/>
                    <a:pt x="20" y="49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60" name="ïśḷidè">
              <a:extLst>
                <a:ext uri="{FF2B5EF4-FFF2-40B4-BE49-F238E27FC236}">
                  <a16:creationId xmlns:a16="http://schemas.microsoft.com/office/drawing/2014/main" id="{E4CB1114-09A9-4964-8E15-DF22537AE90E}"/>
                </a:ext>
              </a:extLst>
            </p:cNvPr>
            <p:cNvSpPr/>
            <p:nvPr/>
          </p:nvSpPr>
          <p:spPr bwMode="auto">
            <a:xfrm>
              <a:off x="5524914" y="4288054"/>
              <a:ext cx="575045" cy="575046"/>
            </a:xfrm>
            <a:custGeom>
              <a:avLst/>
              <a:gdLst>
                <a:gd name="T0" fmla="*/ 13 w 650"/>
                <a:gd name="T1" fmla="*/ 351 h 651"/>
                <a:gd name="T2" fmla="*/ 350 w 650"/>
                <a:gd name="T3" fmla="*/ 637 h 651"/>
                <a:gd name="T4" fmla="*/ 636 w 650"/>
                <a:gd name="T5" fmla="*/ 300 h 651"/>
                <a:gd name="T6" fmla="*/ 300 w 650"/>
                <a:gd name="T7" fmla="*/ 14 h 651"/>
                <a:gd name="T8" fmla="*/ 13 w 650"/>
                <a:gd name="T9" fmla="*/ 351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0" h="651">
                  <a:moveTo>
                    <a:pt x="13" y="351"/>
                  </a:moveTo>
                  <a:cubicBezTo>
                    <a:pt x="27" y="522"/>
                    <a:pt x="178" y="651"/>
                    <a:pt x="350" y="637"/>
                  </a:cubicBezTo>
                  <a:cubicBezTo>
                    <a:pt x="522" y="623"/>
                    <a:pt x="650" y="472"/>
                    <a:pt x="636" y="300"/>
                  </a:cubicBezTo>
                  <a:cubicBezTo>
                    <a:pt x="622" y="128"/>
                    <a:pt x="471" y="0"/>
                    <a:pt x="300" y="14"/>
                  </a:cubicBezTo>
                  <a:cubicBezTo>
                    <a:pt x="128" y="28"/>
                    <a:pt x="0" y="179"/>
                    <a:pt x="13" y="3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61" name="íṡļíḓè">
              <a:extLst>
                <a:ext uri="{FF2B5EF4-FFF2-40B4-BE49-F238E27FC236}">
                  <a16:creationId xmlns:a16="http://schemas.microsoft.com/office/drawing/2014/main" id="{A32ACA43-D055-4146-BA58-D047BFE693A4}"/>
                </a:ext>
              </a:extLst>
            </p:cNvPr>
            <p:cNvSpPr/>
            <p:nvPr/>
          </p:nvSpPr>
          <p:spPr bwMode="auto">
            <a:xfrm>
              <a:off x="5632662" y="4073688"/>
              <a:ext cx="193949" cy="217769"/>
            </a:xfrm>
            <a:custGeom>
              <a:avLst/>
              <a:gdLst>
                <a:gd name="T0" fmla="*/ 0 w 171"/>
                <a:gd name="T1" fmla="*/ 192 h 192"/>
                <a:gd name="T2" fmla="*/ 171 w 171"/>
                <a:gd name="T3" fmla="*/ 147 h 192"/>
                <a:gd name="T4" fmla="*/ 84 w 171"/>
                <a:gd name="T5" fmla="*/ 0 h 192"/>
                <a:gd name="T6" fmla="*/ 2 w 171"/>
                <a:gd name="T7" fmla="*/ 22 h 192"/>
                <a:gd name="T8" fmla="*/ 0 w 171"/>
                <a:gd name="T9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92">
                  <a:moveTo>
                    <a:pt x="0" y="192"/>
                  </a:moveTo>
                  <a:lnTo>
                    <a:pt x="171" y="147"/>
                  </a:lnTo>
                  <a:lnTo>
                    <a:pt x="84" y="0"/>
                  </a:lnTo>
                  <a:lnTo>
                    <a:pt x="2" y="22"/>
                  </a:lnTo>
                  <a:lnTo>
                    <a:pt x="0" y="19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62" name="îsḻïďê">
              <a:extLst>
                <a:ext uri="{FF2B5EF4-FFF2-40B4-BE49-F238E27FC236}">
                  <a16:creationId xmlns:a16="http://schemas.microsoft.com/office/drawing/2014/main" id="{7448BBAC-91BD-4105-BA51-3B64B7E91D79}"/>
                </a:ext>
              </a:extLst>
            </p:cNvPr>
            <p:cNvSpPr/>
            <p:nvPr/>
          </p:nvSpPr>
          <p:spPr bwMode="auto">
            <a:xfrm>
              <a:off x="5310547" y="4561399"/>
              <a:ext cx="217768" cy="192816"/>
            </a:xfrm>
            <a:custGeom>
              <a:avLst/>
              <a:gdLst>
                <a:gd name="T0" fmla="*/ 146 w 192"/>
                <a:gd name="T1" fmla="*/ 0 h 170"/>
                <a:gd name="T2" fmla="*/ 192 w 192"/>
                <a:gd name="T3" fmla="*/ 170 h 170"/>
                <a:gd name="T4" fmla="*/ 22 w 192"/>
                <a:gd name="T5" fmla="*/ 168 h 170"/>
                <a:gd name="T6" fmla="*/ 0 w 192"/>
                <a:gd name="T7" fmla="*/ 87 h 170"/>
                <a:gd name="T8" fmla="*/ 146 w 192"/>
                <a:gd name="T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70">
                  <a:moveTo>
                    <a:pt x="146" y="0"/>
                  </a:moveTo>
                  <a:lnTo>
                    <a:pt x="192" y="170"/>
                  </a:lnTo>
                  <a:lnTo>
                    <a:pt x="22" y="168"/>
                  </a:lnTo>
                  <a:lnTo>
                    <a:pt x="0" y="87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63" name="î$lîḓé">
              <a:extLst>
                <a:ext uri="{FF2B5EF4-FFF2-40B4-BE49-F238E27FC236}">
                  <a16:creationId xmlns:a16="http://schemas.microsoft.com/office/drawing/2014/main" id="{204BA0E2-4219-489E-A01F-BA754F971702}"/>
                </a:ext>
              </a:extLst>
            </p:cNvPr>
            <p:cNvSpPr/>
            <p:nvPr/>
          </p:nvSpPr>
          <p:spPr bwMode="auto">
            <a:xfrm>
              <a:off x="5798258" y="4858562"/>
              <a:ext cx="193949" cy="216635"/>
            </a:xfrm>
            <a:custGeom>
              <a:avLst/>
              <a:gdLst>
                <a:gd name="T0" fmla="*/ 171 w 171"/>
                <a:gd name="T1" fmla="*/ 0 h 191"/>
                <a:gd name="T2" fmla="*/ 0 w 171"/>
                <a:gd name="T3" fmla="*/ 45 h 191"/>
                <a:gd name="T4" fmla="*/ 88 w 171"/>
                <a:gd name="T5" fmla="*/ 191 h 191"/>
                <a:gd name="T6" fmla="*/ 169 w 171"/>
                <a:gd name="T7" fmla="*/ 170 h 191"/>
                <a:gd name="T8" fmla="*/ 171 w 171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91">
                  <a:moveTo>
                    <a:pt x="171" y="0"/>
                  </a:moveTo>
                  <a:lnTo>
                    <a:pt x="0" y="45"/>
                  </a:lnTo>
                  <a:lnTo>
                    <a:pt x="88" y="191"/>
                  </a:lnTo>
                  <a:lnTo>
                    <a:pt x="169" y="170"/>
                  </a:lnTo>
                  <a:lnTo>
                    <a:pt x="17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64" name="îṡļiḑe">
              <a:extLst>
                <a:ext uri="{FF2B5EF4-FFF2-40B4-BE49-F238E27FC236}">
                  <a16:creationId xmlns:a16="http://schemas.microsoft.com/office/drawing/2014/main" id="{2F87C31A-D046-460C-AB61-E69EFDC4428D}"/>
                </a:ext>
              </a:extLst>
            </p:cNvPr>
            <p:cNvSpPr/>
            <p:nvPr/>
          </p:nvSpPr>
          <p:spPr bwMode="auto">
            <a:xfrm>
              <a:off x="6096554" y="4396937"/>
              <a:ext cx="217768" cy="191683"/>
            </a:xfrm>
            <a:custGeom>
              <a:avLst/>
              <a:gdLst>
                <a:gd name="T0" fmla="*/ 45 w 192"/>
                <a:gd name="T1" fmla="*/ 169 h 169"/>
                <a:gd name="T2" fmla="*/ 0 w 192"/>
                <a:gd name="T3" fmla="*/ 0 h 169"/>
                <a:gd name="T4" fmla="*/ 170 w 192"/>
                <a:gd name="T5" fmla="*/ 1 h 169"/>
                <a:gd name="T6" fmla="*/ 192 w 192"/>
                <a:gd name="T7" fmla="*/ 83 h 169"/>
                <a:gd name="T8" fmla="*/ 45 w 192"/>
                <a:gd name="T9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69">
                  <a:moveTo>
                    <a:pt x="45" y="169"/>
                  </a:moveTo>
                  <a:lnTo>
                    <a:pt x="0" y="0"/>
                  </a:lnTo>
                  <a:lnTo>
                    <a:pt x="170" y="1"/>
                  </a:lnTo>
                  <a:lnTo>
                    <a:pt x="192" y="83"/>
                  </a:lnTo>
                  <a:lnTo>
                    <a:pt x="45" y="16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65" name="iṣliḓê">
              <a:extLst>
                <a:ext uri="{FF2B5EF4-FFF2-40B4-BE49-F238E27FC236}">
                  <a16:creationId xmlns:a16="http://schemas.microsoft.com/office/drawing/2014/main" id="{27D5805C-5B0F-4642-8E1A-BF0AFE32CB92}"/>
                </a:ext>
              </a:extLst>
            </p:cNvPr>
            <p:cNvSpPr/>
            <p:nvPr/>
          </p:nvSpPr>
          <p:spPr bwMode="auto">
            <a:xfrm>
              <a:off x="5350244" y="4280115"/>
              <a:ext cx="234782" cy="221172"/>
            </a:xfrm>
            <a:custGeom>
              <a:avLst/>
              <a:gdLst>
                <a:gd name="T0" fmla="*/ 118 w 207"/>
                <a:gd name="T1" fmla="*/ 195 h 195"/>
                <a:gd name="T2" fmla="*/ 207 w 207"/>
                <a:gd name="T3" fmla="*/ 43 h 195"/>
                <a:gd name="T4" fmla="*/ 42 w 207"/>
                <a:gd name="T5" fmla="*/ 0 h 195"/>
                <a:gd name="T6" fmla="*/ 0 w 207"/>
                <a:gd name="T7" fmla="*/ 73 h 195"/>
                <a:gd name="T8" fmla="*/ 118 w 207"/>
                <a:gd name="T9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95">
                  <a:moveTo>
                    <a:pt x="118" y="195"/>
                  </a:moveTo>
                  <a:lnTo>
                    <a:pt x="207" y="43"/>
                  </a:lnTo>
                  <a:lnTo>
                    <a:pt x="42" y="0"/>
                  </a:lnTo>
                  <a:lnTo>
                    <a:pt x="0" y="73"/>
                  </a:lnTo>
                  <a:lnTo>
                    <a:pt x="118" y="19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66" name="íŝľíďé">
              <a:extLst>
                <a:ext uri="{FF2B5EF4-FFF2-40B4-BE49-F238E27FC236}">
                  <a16:creationId xmlns:a16="http://schemas.microsoft.com/office/drawing/2014/main" id="{11CB7E7B-7C2A-4973-A3BA-AB4E5F75E91D}"/>
                </a:ext>
              </a:extLst>
            </p:cNvPr>
            <p:cNvSpPr/>
            <p:nvPr/>
          </p:nvSpPr>
          <p:spPr bwMode="auto">
            <a:xfrm>
              <a:off x="5516974" y="4801853"/>
              <a:ext cx="221170" cy="234782"/>
            </a:xfrm>
            <a:custGeom>
              <a:avLst/>
              <a:gdLst>
                <a:gd name="T0" fmla="*/ 42 w 195"/>
                <a:gd name="T1" fmla="*/ 0 h 207"/>
                <a:gd name="T2" fmla="*/ 195 w 195"/>
                <a:gd name="T3" fmla="*/ 89 h 207"/>
                <a:gd name="T4" fmla="*/ 74 w 195"/>
                <a:gd name="T5" fmla="*/ 207 h 207"/>
                <a:gd name="T6" fmla="*/ 0 w 195"/>
                <a:gd name="T7" fmla="*/ 165 h 207"/>
                <a:gd name="T8" fmla="*/ 42 w 195"/>
                <a:gd name="T9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207">
                  <a:moveTo>
                    <a:pt x="42" y="0"/>
                  </a:moveTo>
                  <a:lnTo>
                    <a:pt x="195" y="89"/>
                  </a:lnTo>
                  <a:lnTo>
                    <a:pt x="74" y="207"/>
                  </a:lnTo>
                  <a:lnTo>
                    <a:pt x="0" y="165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67" name="iṡļïḑè">
              <a:extLst>
                <a:ext uri="{FF2B5EF4-FFF2-40B4-BE49-F238E27FC236}">
                  <a16:creationId xmlns:a16="http://schemas.microsoft.com/office/drawing/2014/main" id="{BC8DC280-A9AC-4AF0-B951-C136EF207EE2}"/>
                </a:ext>
              </a:extLst>
            </p:cNvPr>
            <p:cNvSpPr/>
            <p:nvPr/>
          </p:nvSpPr>
          <p:spPr bwMode="auto">
            <a:xfrm>
              <a:off x="6039845" y="4647599"/>
              <a:ext cx="234782" cy="221172"/>
            </a:xfrm>
            <a:custGeom>
              <a:avLst/>
              <a:gdLst>
                <a:gd name="T0" fmla="*/ 88 w 207"/>
                <a:gd name="T1" fmla="*/ 0 h 195"/>
                <a:gd name="T2" fmla="*/ 0 w 207"/>
                <a:gd name="T3" fmla="*/ 153 h 195"/>
                <a:gd name="T4" fmla="*/ 165 w 207"/>
                <a:gd name="T5" fmla="*/ 195 h 195"/>
                <a:gd name="T6" fmla="*/ 207 w 207"/>
                <a:gd name="T7" fmla="*/ 123 h 195"/>
                <a:gd name="T8" fmla="*/ 88 w 207"/>
                <a:gd name="T9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95">
                  <a:moveTo>
                    <a:pt x="88" y="0"/>
                  </a:moveTo>
                  <a:lnTo>
                    <a:pt x="0" y="153"/>
                  </a:lnTo>
                  <a:lnTo>
                    <a:pt x="165" y="195"/>
                  </a:lnTo>
                  <a:lnTo>
                    <a:pt x="207" y="123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68" name="iṩḻïḑê">
              <a:extLst>
                <a:ext uri="{FF2B5EF4-FFF2-40B4-BE49-F238E27FC236}">
                  <a16:creationId xmlns:a16="http://schemas.microsoft.com/office/drawing/2014/main" id="{7367FFDF-3F79-4259-9AFC-C69A830225E4}"/>
                </a:ext>
              </a:extLst>
            </p:cNvPr>
            <p:cNvSpPr/>
            <p:nvPr/>
          </p:nvSpPr>
          <p:spPr bwMode="auto">
            <a:xfrm>
              <a:off x="5886726" y="4113385"/>
              <a:ext cx="221170" cy="234782"/>
            </a:xfrm>
            <a:custGeom>
              <a:avLst/>
              <a:gdLst>
                <a:gd name="T0" fmla="*/ 152 w 195"/>
                <a:gd name="T1" fmla="*/ 207 h 207"/>
                <a:gd name="T2" fmla="*/ 0 w 195"/>
                <a:gd name="T3" fmla="*/ 119 h 207"/>
                <a:gd name="T4" fmla="*/ 122 w 195"/>
                <a:gd name="T5" fmla="*/ 0 h 207"/>
                <a:gd name="T6" fmla="*/ 195 w 195"/>
                <a:gd name="T7" fmla="*/ 42 h 207"/>
                <a:gd name="T8" fmla="*/ 152 w 195"/>
                <a:gd name="T9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207">
                  <a:moveTo>
                    <a:pt x="152" y="207"/>
                  </a:moveTo>
                  <a:lnTo>
                    <a:pt x="0" y="119"/>
                  </a:lnTo>
                  <a:lnTo>
                    <a:pt x="122" y="0"/>
                  </a:lnTo>
                  <a:lnTo>
                    <a:pt x="195" y="42"/>
                  </a:lnTo>
                  <a:lnTo>
                    <a:pt x="152" y="2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69" name="iśļiḍé">
              <a:extLst>
                <a:ext uri="{FF2B5EF4-FFF2-40B4-BE49-F238E27FC236}">
                  <a16:creationId xmlns:a16="http://schemas.microsoft.com/office/drawing/2014/main" id="{0E902D60-D6A0-40C6-B708-650FFC58310D}"/>
                </a:ext>
              </a:extLst>
            </p:cNvPr>
            <p:cNvSpPr/>
            <p:nvPr/>
          </p:nvSpPr>
          <p:spPr bwMode="auto">
            <a:xfrm>
              <a:off x="6003550" y="4886917"/>
              <a:ext cx="551226" cy="548959"/>
            </a:xfrm>
            <a:custGeom>
              <a:avLst/>
              <a:gdLst>
                <a:gd name="T0" fmla="*/ 242 w 622"/>
                <a:gd name="T1" fmla="*/ 584 h 622"/>
                <a:gd name="T2" fmla="*/ 584 w 622"/>
                <a:gd name="T3" fmla="*/ 379 h 622"/>
                <a:gd name="T4" fmla="*/ 380 w 622"/>
                <a:gd name="T5" fmla="*/ 38 h 622"/>
                <a:gd name="T6" fmla="*/ 38 w 622"/>
                <a:gd name="T7" fmla="*/ 242 h 622"/>
                <a:gd name="T8" fmla="*/ 242 w 622"/>
                <a:gd name="T9" fmla="*/ 584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2" h="622">
                  <a:moveTo>
                    <a:pt x="242" y="584"/>
                  </a:moveTo>
                  <a:cubicBezTo>
                    <a:pt x="393" y="622"/>
                    <a:pt x="546" y="530"/>
                    <a:pt x="584" y="379"/>
                  </a:cubicBezTo>
                  <a:cubicBezTo>
                    <a:pt x="622" y="229"/>
                    <a:pt x="530" y="76"/>
                    <a:pt x="380" y="38"/>
                  </a:cubicBezTo>
                  <a:cubicBezTo>
                    <a:pt x="229" y="0"/>
                    <a:pt x="76" y="91"/>
                    <a:pt x="38" y="242"/>
                  </a:cubicBezTo>
                  <a:cubicBezTo>
                    <a:pt x="0" y="393"/>
                    <a:pt x="91" y="546"/>
                    <a:pt x="242" y="5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70" name="ïśḷîḋe">
              <a:extLst>
                <a:ext uri="{FF2B5EF4-FFF2-40B4-BE49-F238E27FC236}">
                  <a16:creationId xmlns:a16="http://schemas.microsoft.com/office/drawing/2014/main" id="{C49B5CC5-68B9-4382-A397-291E105BF0A1}"/>
                </a:ext>
              </a:extLst>
            </p:cNvPr>
            <p:cNvSpPr/>
            <p:nvPr/>
          </p:nvSpPr>
          <p:spPr bwMode="auto">
            <a:xfrm>
              <a:off x="6144191" y="5038903"/>
              <a:ext cx="260869" cy="243857"/>
            </a:xfrm>
            <a:custGeom>
              <a:avLst/>
              <a:gdLst>
                <a:gd name="T0" fmla="*/ 153 w 296"/>
                <a:gd name="T1" fmla="*/ 276 h 276"/>
                <a:gd name="T2" fmla="*/ 153 w 296"/>
                <a:gd name="T3" fmla="*/ 276 h 276"/>
                <a:gd name="T4" fmla="*/ 119 w 296"/>
                <a:gd name="T5" fmla="*/ 273 h 276"/>
                <a:gd name="T6" fmla="*/ 18 w 296"/>
                <a:gd name="T7" fmla="*/ 105 h 276"/>
                <a:gd name="T8" fmla="*/ 153 w 296"/>
                <a:gd name="T9" fmla="*/ 0 h 276"/>
                <a:gd name="T10" fmla="*/ 187 w 296"/>
                <a:gd name="T11" fmla="*/ 4 h 276"/>
                <a:gd name="T12" fmla="*/ 272 w 296"/>
                <a:gd name="T13" fmla="*/ 68 h 276"/>
                <a:gd name="T14" fmla="*/ 287 w 296"/>
                <a:gd name="T15" fmla="*/ 172 h 276"/>
                <a:gd name="T16" fmla="*/ 153 w 296"/>
                <a:gd name="T17" fmla="*/ 276 h 276"/>
                <a:gd name="T18" fmla="*/ 153 w 296"/>
                <a:gd name="T19" fmla="*/ 44 h 276"/>
                <a:gd name="T20" fmla="*/ 61 w 296"/>
                <a:gd name="T21" fmla="*/ 116 h 276"/>
                <a:gd name="T22" fmla="*/ 130 w 296"/>
                <a:gd name="T23" fmla="*/ 230 h 276"/>
                <a:gd name="T24" fmla="*/ 153 w 296"/>
                <a:gd name="T25" fmla="*/ 232 h 276"/>
                <a:gd name="T26" fmla="*/ 153 w 296"/>
                <a:gd name="T27" fmla="*/ 232 h 276"/>
                <a:gd name="T28" fmla="*/ 245 w 296"/>
                <a:gd name="T29" fmla="*/ 161 h 276"/>
                <a:gd name="T30" fmla="*/ 234 w 296"/>
                <a:gd name="T31" fmla="*/ 90 h 276"/>
                <a:gd name="T32" fmla="*/ 176 w 296"/>
                <a:gd name="T33" fmla="*/ 47 h 276"/>
                <a:gd name="T34" fmla="*/ 153 w 296"/>
                <a:gd name="T35" fmla="*/ 44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6" h="276">
                  <a:moveTo>
                    <a:pt x="153" y="276"/>
                  </a:moveTo>
                  <a:cubicBezTo>
                    <a:pt x="153" y="276"/>
                    <a:pt x="153" y="276"/>
                    <a:pt x="153" y="276"/>
                  </a:cubicBezTo>
                  <a:cubicBezTo>
                    <a:pt x="142" y="276"/>
                    <a:pt x="130" y="275"/>
                    <a:pt x="119" y="273"/>
                  </a:cubicBezTo>
                  <a:cubicBezTo>
                    <a:pt x="45" y="254"/>
                    <a:pt x="0" y="179"/>
                    <a:pt x="18" y="105"/>
                  </a:cubicBezTo>
                  <a:cubicBezTo>
                    <a:pt x="34" y="43"/>
                    <a:pt x="89" y="0"/>
                    <a:pt x="153" y="0"/>
                  </a:cubicBezTo>
                  <a:cubicBezTo>
                    <a:pt x="164" y="0"/>
                    <a:pt x="176" y="2"/>
                    <a:pt x="187" y="4"/>
                  </a:cubicBezTo>
                  <a:cubicBezTo>
                    <a:pt x="223" y="13"/>
                    <a:pt x="253" y="36"/>
                    <a:pt x="272" y="68"/>
                  </a:cubicBezTo>
                  <a:cubicBezTo>
                    <a:pt x="291" y="99"/>
                    <a:pt x="296" y="136"/>
                    <a:pt x="287" y="172"/>
                  </a:cubicBezTo>
                  <a:cubicBezTo>
                    <a:pt x="272" y="234"/>
                    <a:pt x="217" y="276"/>
                    <a:pt x="153" y="276"/>
                  </a:cubicBezTo>
                  <a:close/>
                  <a:moveTo>
                    <a:pt x="153" y="44"/>
                  </a:moveTo>
                  <a:cubicBezTo>
                    <a:pt x="109" y="44"/>
                    <a:pt x="72" y="74"/>
                    <a:pt x="61" y="116"/>
                  </a:cubicBezTo>
                  <a:cubicBezTo>
                    <a:pt x="49" y="166"/>
                    <a:pt x="79" y="217"/>
                    <a:pt x="130" y="230"/>
                  </a:cubicBezTo>
                  <a:cubicBezTo>
                    <a:pt x="138" y="232"/>
                    <a:pt x="145" y="232"/>
                    <a:pt x="153" y="232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96" y="232"/>
                    <a:pt x="234" y="203"/>
                    <a:pt x="245" y="161"/>
                  </a:cubicBezTo>
                  <a:cubicBezTo>
                    <a:pt x="251" y="137"/>
                    <a:pt x="247" y="112"/>
                    <a:pt x="234" y="90"/>
                  </a:cubicBezTo>
                  <a:cubicBezTo>
                    <a:pt x="221" y="68"/>
                    <a:pt x="200" y="53"/>
                    <a:pt x="176" y="47"/>
                  </a:cubicBezTo>
                  <a:cubicBezTo>
                    <a:pt x="168" y="45"/>
                    <a:pt x="161" y="44"/>
                    <a:pt x="153" y="4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71" name="iṣľïḑe">
              <a:extLst>
                <a:ext uri="{FF2B5EF4-FFF2-40B4-BE49-F238E27FC236}">
                  <a16:creationId xmlns:a16="http://schemas.microsoft.com/office/drawing/2014/main" id="{A863EA8F-0EDC-402D-B16F-BA1747AE6F7A}"/>
                </a:ext>
              </a:extLst>
            </p:cNvPr>
            <p:cNvSpPr/>
            <p:nvPr/>
          </p:nvSpPr>
          <p:spPr bwMode="auto">
            <a:xfrm>
              <a:off x="6459502" y="5096747"/>
              <a:ext cx="146313" cy="162193"/>
            </a:xfrm>
            <a:custGeom>
              <a:avLst/>
              <a:gdLst>
                <a:gd name="T0" fmla="*/ 13 w 129"/>
                <a:gd name="T1" fmla="*/ 0 h 143"/>
                <a:gd name="T2" fmla="*/ 0 w 129"/>
                <a:gd name="T3" fmla="*/ 143 h 143"/>
                <a:gd name="T4" fmla="*/ 123 w 129"/>
                <a:gd name="T5" fmla="*/ 116 h 143"/>
                <a:gd name="T6" fmla="*/ 129 w 129"/>
                <a:gd name="T7" fmla="*/ 48 h 143"/>
                <a:gd name="T8" fmla="*/ 13 w 129"/>
                <a:gd name="T9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43">
                  <a:moveTo>
                    <a:pt x="13" y="0"/>
                  </a:moveTo>
                  <a:lnTo>
                    <a:pt x="0" y="143"/>
                  </a:lnTo>
                  <a:lnTo>
                    <a:pt x="123" y="116"/>
                  </a:lnTo>
                  <a:lnTo>
                    <a:pt x="129" y="48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grpSp>
          <p:nvGrpSpPr>
            <p:cNvPr id="172" name="íšḷíḍè">
              <a:extLst>
                <a:ext uri="{FF2B5EF4-FFF2-40B4-BE49-F238E27FC236}">
                  <a16:creationId xmlns:a16="http://schemas.microsoft.com/office/drawing/2014/main" id="{D2490BE0-080A-4DBE-BA48-32EA452B8E94}"/>
                </a:ext>
              </a:extLst>
            </p:cNvPr>
            <p:cNvGrpSpPr/>
            <p:nvPr/>
          </p:nvGrpSpPr>
          <p:grpSpPr>
            <a:xfrm>
              <a:off x="5952509" y="4835869"/>
              <a:ext cx="598862" cy="652172"/>
              <a:chOff x="3007020" y="5300001"/>
              <a:chExt cx="535736" cy="583426"/>
            </a:xfrm>
            <a:solidFill>
              <a:schemeClr val="bg1">
                <a:lumMod val="95000"/>
              </a:schemeClr>
            </a:solidFill>
          </p:grpSpPr>
          <p:sp>
            <p:nvSpPr>
              <p:cNvPr id="209" name="îślîḓè">
                <a:extLst>
                  <a:ext uri="{FF2B5EF4-FFF2-40B4-BE49-F238E27FC236}">
                    <a16:creationId xmlns:a16="http://schemas.microsoft.com/office/drawing/2014/main" id="{602A5E8C-BD02-4CF4-B918-FEB0FBF4DBFD}"/>
                  </a:ext>
                </a:extLst>
              </p:cNvPr>
              <p:cNvSpPr/>
              <p:nvPr/>
            </p:nvSpPr>
            <p:spPr bwMode="auto">
              <a:xfrm>
                <a:off x="3007020" y="5503946"/>
                <a:ext cx="129876" cy="145096"/>
              </a:xfrm>
              <a:custGeom>
                <a:avLst/>
                <a:gdLst>
                  <a:gd name="T0" fmla="*/ 115 w 128"/>
                  <a:gd name="T1" fmla="*/ 143 h 143"/>
                  <a:gd name="T2" fmla="*/ 128 w 128"/>
                  <a:gd name="T3" fmla="*/ 0 h 143"/>
                  <a:gd name="T4" fmla="*/ 6 w 128"/>
                  <a:gd name="T5" fmla="*/ 26 h 143"/>
                  <a:gd name="T6" fmla="*/ 0 w 128"/>
                  <a:gd name="T7" fmla="*/ 95 h 143"/>
                  <a:gd name="T8" fmla="*/ 115 w 128"/>
                  <a:gd name="T9" fmla="*/ 14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43">
                    <a:moveTo>
                      <a:pt x="115" y="143"/>
                    </a:moveTo>
                    <a:lnTo>
                      <a:pt x="128" y="0"/>
                    </a:lnTo>
                    <a:lnTo>
                      <a:pt x="6" y="26"/>
                    </a:lnTo>
                    <a:lnTo>
                      <a:pt x="0" y="95"/>
                    </a:lnTo>
                    <a:lnTo>
                      <a:pt x="115" y="1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10" name="ïşḷiďe">
                <a:extLst>
                  <a:ext uri="{FF2B5EF4-FFF2-40B4-BE49-F238E27FC236}">
                    <a16:creationId xmlns:a16="http://schemas.microsoft.com/office/drawing/2014/main" id="{84633AAB-604F-4E2E-B5D0-5E1A9CF4DAE9}"/>
                  </a:ext>
                </a:extLst>
              </p:cNvPr>
              <p:cNvSpPr/>
              <p:nvPr/>
            </p:nvSpPr>
            <p:spPr bwMode="auto">
              <a:xfrm>
                <a:off x="3210966" y="5753551"/>
                <a:ext cx="144081" cy="129876"/>
              </a:xfrm>
              <a:custGeom>
                <a:avLst/>
                <a:gdLst>
                  <a:gd name="T0" fmla="*/ 0 w 142"/>
                  <a:gd name="T1" fmla="*/ 0 h 128"/>
                  <a:gd name="T2" fmla="*/ 142 w 142"/>
                  <a:gd name="T3" fmla="*/ 13 h 128"/>
                  <a:gd name="T4" fmla="*/ 94 w 142"/>
                  <a:gd name="T5" fmla="*/ 128 h 128"/>
                  <a:gd name="T6" fmla="*/ 25 w 142"/>
                  <a:gd name="T7" fmla="*/ 121 h 128"/>
                  <a:gd name="T8" fmla="*/ 0 w 142"/>
                  <a:gd name="T9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128">
                    <a:moveTo>
                      <a:pt x="0" y="0"/>
                    </a:moveTo>
                    <a:lnTo>
                      <a:pt x="142" y="13"/>
                    </a:lnTo>
                    <a:lnTo>
                      <a:pt x="94" y="128"/>
                    </a:lnTo>
                    <a:lnTo>
                      <a:pt x="25" y="12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11" name="iSḻídè">
                <a:extLst>
                  <a:ext uri="{FF2B5EF4-FFF2-40B4-BE49-F238E27FC236}">
                    <a16:creationId xmlns:a16="http://schemas.microsoft.com/office/drawing/2014/main" id="{F45FE796-DAD7-46E5-8D74-638BDABAE768}"/>
                  </a:ext>
                </a:extLst>
              </p:cNvPr>
              <p:cNvSpPr/>
              <p:nvPr/>
            </p:nvSpPr>
            <p:spPr bwMode="auto">
              <a:xfrm>
                <a:off x="3243435" y="5300001"/>
                <a:ext cx="144081" cy="130890"/>
              </a:xfrm>
              <a:custGeom>
                <a:avLst/>
                <a:gdLst>
                  <a:gd name="T0" fmla="*/ 142 w 142"/>
                  <a:gd name="T1" fmla="*/ 129 h 129"/>
                  <a:gd name="T2" fmla="*/ 0 w 142"/>
                  <a:gd name="T3" fmla="*/ 116 h 129"/>
                  <a:gd name="T4" fmla="*/ 48 w 142"/>
                  <a:gd name="T5" fmla="*/ 0 h 129"/>
                  <a:gd name="T6" fmla="*/ 116 w 142"/>
                  <a:gd name="T7" fmla="*/ 7 h 129"/>
                  <a:gd name="T8" fmla="*/ 142 w 142"/>
                  <a:gd name="T9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129">
                    <a:moveTo>
                      <a:pt x="142" y="129"/>
                    </a:moveTo>
                    <a:lnTo>
                      <a:pt x="0" y="116"/>
                    </a:lnTo>
                    <a:lnTo>
                      <a:pt x="48" y="0"/>
                    </a:lnTo>
                    <a:lnTo>
                      <a:pt x="116" y="7"/>
                    </a:lnTo>
                    <a:lnTo>
                      <a:pt x="142" y="1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12" name="í$lîḍé">
                <a:extLst>
                  <a:ext uri="{FF2B5EF4-FFF2-40B4-BE49-F238E27FC236}">
                    <a16:creationId xmlns:a16="http://schemas.microsoft.com/office/drawing/2014/main" id="{4E7D0F45-C956-4643-807F-7DA8951E3D96}"/>
                  </a:ext>
                </a:extLst>
              </p:cNvPr>
              <p:cNvSpPr/>
              <p:nvPr/>
            </p:nvSpPr>
            <p:spPr bwMode="auto">
              <a:xfrm>
                <a:off x="3053694" y="5642954"/>
                <a:ext cx="161329" cy="160315"/>
              </a:xfrm>
              <a:custGeom>
                <a:avLst/>
                <a:gdLst>
                  <a:gd name="T0" fmla="*/ 159 w 159"/>
                  <a:gd name="T1" fmla="*/ 111 h 158"/>
                  <a:gd name="T2" fmla="*/ 67 w 159"/>
                  <a:gd name="T3" fmla="*/ 0 h 158"/>
                  <a:gd name="T4" fmla="*/ 0 w 159"/>
                  <a:gd name="T5" fmla="*/ 106 h 158"/>
                  <a:gd name="T6" fmla="*/ 44 w 159"/>
                  <a:gd name="T7" fmla="*/ 158 h 158"/>
                  <a:gd name="T8" fmla="*/ 159 w 159"/>
                  <a:gd name="T9" fmla="*/ 111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9" h="158">
                    <a:moveTo>
                      <a:pt x="159" y="111"/>
                    </a:moveTo>
                    <a:lnTo>
                      <a:pt x="67" y="0"/>
                    </a:lnTo>
                    <a:lnTo>
                      <a:pt x="0" y="106"/>
                    </a:lnTo>
                    <a:lnTo>
                      <a:pt x="44" y="158"/>
                    </a:lnTo>
                    <a:lnTo>
                      <a:pt x="159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13" name="ïṩ1íḑê">
                <a:extLst>
                  <a:ext uri="{FF2B5EF4-FFF2-40B4-BE49-F238E27FC236}">
                    <a16:creationId xmlns:a16="http://schemas.microsoft.com/office/drawing/2014/main" id="{728A29E2-C3B6-484B-918D-CACDF9C050C2}"/>
                  </a:ext>
                </a:extLst>
              </p:cNvPr>
              <p:cNvSpPr/>
              <p:nvPr/>
            </p:nvSpPr>
            <p:spPr bwMode="auto">
              <a:xfrm>
                <a:off x="3350988" y="5675423"/>
                <a:ext cx="159300" cy="161330"/>
              </a:xfrm>
              <a:custGeom>
                <a:avLst/>
                <a:gdLst>
                  <a:gd name="T0" fmla="*/ 0 w 157"/>
                  <a:gd name="T1" fmla="*/ 91 h 159"/>
                  <a:gd name="T2" fmla="*/ 110 w 157"/>
                  <a:gd name="T3" fmla="*/ 0 h 159"/>
                  <a:gd name="T4" fmla="*/ 157 w 157"/>
                  <a:gd name="T5" fmla="*/ 116 h 159"/>
                  <a:gd name="T6" fmla="*/ 104 w 157"/>
                  <a:gd name="T7" fmla="*/ 159 h 159"/>
                  <a:gd name="T8" fmla="*/ 0 w 157"/>
                  <a:gd name="T9" fmla="*/ 91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59">
                    <a:moveTo>
                      <a:pt x="0" y="91"/>
                    </a:moveTo>
                    <a:lnTo>
                      <a:pt x="110" y="0"/>
                    </a:lnTo>
                    <a:lnTo>
                      <a:pt x="157" y="116"/>
                    </a:lnTo>
                    <a:lnTo>
                      <a:pt x="104" y="159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14" name="ï$ḻîḍè">
                <a:extLst>
                  <a:ext uri="{FF2B5EF4-FFF2-40B4-BE49-F238E27FC236}">
                    <a16:creationId xmlns:a16="http://schemas.microsoft.com/office/drawing/2014/main" id="{2A75A478-B0D1-4388-B924-8D3E2C74F230}"/>
                  </a:ext>
                </a:extLst>
              </p:cNvPr>
              <p:cNvSpPr/>
              <p:nvPr/>
            </p:nvSpPr>
            <p:spPr bwMode="auto">
              <a:xfrm>
                <a:off x="3381427" y="5378129"/>
                <a:ext cx="161329" cy="161330"/>
              </a:xfrm>
              <a:custGeom>
                <a:avLst/>
                <a:gdLst>
                  <a:gd name="T0" fmla="*/ 0 w 159"/>
                  <a:gd name="T1" fmla="*/ 48 h 159"/>
                  <a:gd name="T2" fmla="*/ 92 w 159"/>
                  <a:gd name="T3" fmla="*/ 159 h 159"/>
                  <a:gd name="T4" fmla="*/ 159 w 159"/>
                  <a:gd name="T5" fmla="*/ 53 h 159"/>
                  <a:gd name="T6" fmla="*/ 116 w 159"/>
                  <a:gd name="T7" fmla="*/ 0 h 159"/>
                  <a:gd name="T8" fmla="*/ 0 w 159"/>
                  <a:gd name="T9" fmla="*/ 48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9" h="159">
                    <a:moveTo>
                      <a:pt x="0" y="48"/>
                    </a:moveTo>
                    <a:lnTo>
                      <a:pt x="92" y="159"/>
                    </a:lnTo>
                    <a:lnTo>
                      <a:pt x="159" y="53"/>
                    </a:lnTo>
                    <a:lnTo>
                      <a:pt x="116" y="0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15" name="îṩļiḋè">
                <a:extLst>
                  <a:ext uri="{FF2B5EF4-FFF2-40B4-BE49-F238E27FC236}">
                    <a16:creationId xmlns:a16="http://schemas.microsoft.com/office/drawing/2014/main" id="{099F3DEC-BCCE-4A3B-B3DC-33CF898389EA}"/>
                  </a:ext>
                </a:extLst>
              </p:cNvPr>
              <p:cNvSpPr/>
              <p:nvPr/>
            </p:nvSpPr>
            <p:spPr bwMode="auto">
              <a:xfrm>
                <a:off x="3088192" y="5346675"/>
                <a:ext cx="159300" cy="161330"/>
              </a:xfrm>
              <a:custGeom>
                <a:avLst/>
                <a:gdLst>
                  <a:gd name="T0" fmla="*/ 157 w 157"/>
                  <a:gd name="T1" fmla="*/ 67 h 159"/>
                  <a:gd name="T2" fmla="*/ 46 w 157"/>
                  <a:gd name="T3" fmla="*/ 159 h 159"/>
                  <a:gd name="T4" fmla="*/ 0 w 157"/>
                  <a:gd name="T5" fmla="*/ 43 h 159"/>
                  <a:gd name="T6" fmla="*/ 52 w 157"/>
                  <a:gd name="T7" fmla="*/ 0 h 159"/>
                  <a:gd name="T8" fmla="*/ 157 w 157"/>
                  <a:gd name="T9" fmla="*/ 67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59">
                    <a:moveTo>
                      <a:pt x="157" y="67"/>
                    </a:moveTo>
                    <a:lnTo>
                      <a:pt x="46" y="159"/>
                    </a:lnTo>
                    <a:lnTo>
                      <a:pt x="0" y="43"/>
                    </a:lnTo>
                    <a:lnTo>
                      <a:pt x="52" y="0"/>
                    </a:lnTo>
                    <a:lnTo>
                      <a:pt x="15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</p:grpSp>
        <p:sp>
          <p:nvSpPr>
            <p:cNvPr id="173" name="ïṧľîḍè">
              <a:extLst>
                <a:ext uri="{FF2B5EF4-FFF2-40B4-BE49-F238E27FC236}">
                  <a16:creationId xmlns:a16="http://schemas.microsoft.com/office/drawing/2014/main" id="{A6D0514E-3D22-4AC8-AE3D-4D254C0B1F6B}"/>
                </a:ext>
              </a:extLst>
            </p:cNvPr>
            <p:cNvSpPr/>
            <p:nvPr/>
          </p:nvSpPr>
          <p:spPr bwMode="auto">
            <a:xfrm>
              <a:off x="6802033" y="2131917"/>
              <a:ext cx="262001" cy="243857"/>
            </a:xfrm>
            <a:custGeom>
              <a:avLst/>
              <a:gdLst>
                <a:gd name="T0" fmla="*/ 153 w 296"/>
                <a:gd name="T1" fmla="*/ 277 h 277"/>
                <a:gd name="T2" fmla="*/ 153 w 296"/>
                <a:gd name="T3" fmla="*/ 277 h 277"/>
                <a:gd name="T4" fmla="*/ 119 w 296"/>
                <a:gd name="T5" fmla="*/ 273 h 277"/>
                <a:gd name="T6" fmla="*/ 18 w 296"/>
                <a:gd name="T7" fmla="*/ 105 h 277"/>
                <a:gd name="T8" fmla="*/ 152 w 296"/>
                <a:gd name="T9" fmla="*/ 0 h 277"/>
                <a:gd name="T10" fmla="*/ 186 w 296"/>
                <a:gd name="T11" fmla="*/ 4 h 277"/>
                <a:gd name="T12" fmla="*/ 271 w 296"/>
                <a:gd name="T13" fmla="*/ 67 h 277"/>
                <a:gd name="T14" fmla="*/ 287 w 296"/>
                <a:gd name="T15" fmla="*/ 172 h 277"/>
                <a:gd name="T16" fmla="*/ 153 w 296"/>
                <a:gd name="T17" fmla="*/ 277 h 277"/>
                <a:gd name="T18" fmla="*/ 152 w 296"/>
                <a:gd name="T19" fmla="*/ 44 h 277"/>
                <a:gd name="T20" fmla="*/ 61 w 296"/>
                <a:gd name="T21" fmla="*/ 115 h 277"/>
                <a:gd name="T22" fmla="*/ 130 w 296"/>
                <a:gd name="T23" fmla="*/ 230 h 277"/>
                <a:gd name="T24" fmla="*/ 153 w 296"/>
                <a:gd name="T25" fmla="*/ 233 h 277"/>
                <a:gd name="T26" fmla="*/ 244 w 296"/>
                <a:gd name="T27" fmla="*/ 161 h 277"/>
                <a:gd name="T28" fmla="*/ 234 w 296"/>
                <a:gd name="T29" fmla="*/ 90 h 277"/>
                <a:gd name="T30" fmla="*/ 176 w 296"/>
                <a:gd name="T31" fmla="*/ 47 h 277"/>
                <a:gd name="T32" fmla="*/ 152 w 296"/>
                <a:gd name="T33" fmla="*/ 44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6" h="277">
                  <a:moveTo>
                    <a:pt x="153" y="277"/>
                  </a:moveTo>
                  <a:cubicBezTo>
                    <a:pt x="153" y="277"/>
                    <a:pt x="153" y="277"/>
                    <a:pt x="153" y="277"/>
                  </a:cubicBezTo>
                  <a:cubicBezTo>
                    <a:pt x="141" y="277"/>
                    <a:pt x="130" y="276"/>
                    <a:pt x="119" y="273"/>
                  </a:cubicBezTo>
                  <a:cubicBezTo>
                    <a:pt x="45" y="254"/>
                    <a:pt x="0" y="179"/>
                    <a:pt x="18" y="105"/>
                  </a:cubicBezTo>
                  <a:cubicBezTo>
                    <a:pt x="34" y="43"/>
                    <a:pt x="89" y="0"/>
                    <a:pt x="152" y="0"/>
                  </a:cubicBezTo>
                  <a:cubicBezTo>
                    <a:pt x="164" y="0"/>
                    <a:pt x="175" y="1"/>
                    <a:pt x="186" y="4"/>
                  </a:cubicBezTo>
                  <a:cubicBezTo>
                    <a:pt x="222" y="13"/>
                    <a:pt x="252" y="35"/>
                    <a:pt x="271" y="67"/>
                  </a:cubicBezTo>
                  <a:cubicBezTo>
                    <a:pt x="291" y="99"/>
                    <a:pt x="296" y="136"/>
                    <a:pt x="287" y="172"/>
                  </a:cubicBezTo>
                  <a:cubicBezTo>
                    <a:pt x="272" y="234"/>
                    <a:pt x="216" y="277"/>
                    <a:pt x="153" y="277"/>
                  </a:cubicBezTo>
                  <a:close/>
                  <a:moveTo>
                    <a:pt x="152" y="44"/>
                  </a:moveTo>
                  <a:cubicBezTo>
                    <a:pt x="109" y="44"/>
                    <a:pt x="71" y="73"/>
                    <a:pt x="61" y="115"/>
                  </a:cubicBezTo>
                  <a:cubicBezTo>
                    <a:pt x="48" y="166"/>
                    <a:pt x="79" y="217"/>
                    <a:pt x="130" y="230"/>
                  </a:cubicBezTo>
                  <a:cubicBezTo>
                    <a:pt x="137" y="232"/>
                    <a:pt x="145" y="233"/>
                    <a:pt x="153" y="233"/>
                  </a:cubicBezTo>
                  <a:cubicBezTo>
                    <a:pt x="196" y="233"/>
                    <a:pt x="234" y="204"/>
                    <a:pt x="244" y="161"/>
                  </a:cubicBezTo>
                  <a:cubicBezTo>
                    <a:pt x="250" y="137"/>
                    <a:pt x="247" y="111"/>
                    <a:pt x="234" y="90"/>
                  </a:cubicBezTo>
                  <a:cubicBezTo>
                    <a:pt x="221" y="68"/>
                    <a:pt x="200" y="53"/>
                    <a:pt x="176" y="47"/>
                  </a:cubicBezTo>
                  <a:cubicBezTo>
                    <a:pt x="168" y="45"/>
                    <a:pt x="160" y="44"/>
                    <a:pt x="152" y="4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74" name="iṣlïḋé">
              <a:extLst>
                <a:ext uri="{FF2B5EF4-FFF2-40B4-BE49-F238E27FC236}">
                  <a16:creationId xmlns:a16="http://schemas.microsoft.com/office/drawing/2014/main" id="{36D64EE9-AE61-4DEC-A059-B8D32F371C9C}"/>
                </a:ext>
              </a:extLst>
            </p:cNvPr>
            <p:cNvSpPr/>
            <p:nvPr/>
          </p:nvSpPr>
          <p:spPr bwMode="auto">
            <a:xfrm>
              <a:off x="5533987" y="4309605"/>
              <a:ext cx="170131" cy="288090"/>
            </a:xfrm>
            <a:custGeom>
              <a:avLst/>
              <a:gdLst>
                <a:gd name="T0" fmla="*/ 177 w 192"/>
                <a:gd name="T1" fmla="*/ 45 h 326"/>
                <a:gd name="T2" fmla="*/ 163 w 192"/>
                <a:gd name="T3" fmla="*/ 52 h 326"/>
                <a:gd name="T4" fmla="*/ 156 w 192"/>
                <a:gd name="T5" fmla="*/ 56 h 326"/>
                <a:gd name="T6" fmla="*/ 149 w 192"/>
                <a:gd name="T7" fmla="*/ 60 h 326"/>
                <a:gd name="T8" fmla="*/ 140 w 192"/>
                <a:gd name="T9" fmla="*/ 65 h 326"/>
                <a:gd name="T10" fmla="*/ 131 w 192"/>
                <a:gd name="T11" fmla="*/ 72 h 326"/>
                <a:gd name="T12" fmla="*/ 121 w 192"/>
                <a:gd name="T13" fmla="*/ 79 h 326"/>
                <a:gd name="T14" fmla="*/ 110 w 192"/>
                <a:gd name="T15" fmla="*/ 87 h 326"/>
                <a:gd name="T16" fmla="*/ 100 w 192"/>
                <a:gd name="T17" fmla="*/ 97 h 326"/>
                <a:gd name="T18" fmla="*/ 89 w 192"/>
                <a:gd name="T19" fmla="*/ 107 h 326"/>
                <a:gd name="T20" fmla="*/ 79 w 192"/>
                <a:gd name="T21" fmla="*/ 118 h 326"/>
                <a:gd name="T22" fmla="*/ 69 w 192"/>
                <a:gd name="T23" fmla="*/ 131 h 326"/>
                <a:gd name="T24" fmla="*/ 64 w 192"/>
                <a:gd name="T25" fmla="*/ 137 h 326"/>
                <a:gd name="T26" fmla="*/ 59 w 192"/>
                <a:gd name="T27" fmla="*/ 143 h 326"/>
                <a:gd name="T28" fmla="*/ 50 w 192"/>
                <a:gd name="T29" fmla="*/ 157 h 326"/>
                <a:gd name="T30" fmla="*/ 42 w 192"/>
                <a:gd name="T31" fmla="*/ 171 h 326"/>
                <a:gd name="T32" fmla="*/ 34 w 192"/>
                <a:gd name="T33" fmla="*/ 186 h 326"/>
                <a:gd name="T34" fmla="*/ 31 w 192"/>
                <a:gd name="T35" fmla="*/ 193 h 326"/>
                <a:gd name="T36" fmla="*/ 28 w 192"/>
                <a:gd name="T37" fmla="*/ 200 h 326"/>
                <a:gd name="T38" fmla="*/ 22 w 192"/>
                <a:gd name="T39" fmla="*/ 215 h 326"/>
                <a:gd name="T40" fmla="*/ 13 w 192"/>
                <a:gd name="T41" fmla="*/ 243 h 326"/>
                <a:gd name="T42" fmla="*/ 10 w 192"/>
                <a:gd name="T43" fmla="*/ 257 h 326"/>
                <a:gd name="T44" fmla="*/ 8 w 192"/>
                <a:gd name="T45" fmla="*/ 270 h 326"/>
                <a:gd name="T46" fmla="*/ 5 w 192"/>
                <a:gd name="T47" fmla="*/ 292 h 326"/>
                <a:gd name="T48" fmla="*/ 4 w 192"/>
                <a:gd name="T49" fmla="*/ 302 h 326"/>
                <a:gd name="T50" fmla="*/ 4 w 192"/>
                <a:gd name="T51" fmla="*/ 310 h 326"/>
                <a:gd name="T52" fmla="*/ 3 w 192"/>
                <a:gd name="T53" fmla="*/ 326 h 326"/>
                <a:gd name="T54" fmla="*/ 2 w 192"/>
                <a:gd name="T55" fmla="*/ 310 h 326"/>
                <a:gd name="T56" fmla="*/ 1 w 192"/>
                <a:gd name="T57" fmla="*/ 302 h 326"/>
                <a:gd name="T58" fmla="*/ 1 w 192"/>
                <a:gd name="T59" fmla="*/ 292 h 326"/>
                <a:gd name="T60" fmla="*/ 1 w 192"/>
                <a:gd name="T61" fmla="*/ 269 h 326"/>
                <a:gd name="T62" fmla="*/ 1 w 192"/>
                <a:gd name="T63" fmla="*/ 256 h 326"/>
                <a:gd name="T64" fmla="*/ 3 w 192"/>
                <a:gd name="T65" fmla="*/ 241 h 326"/>
                <a:gd name="T66" fmla="*/ 8 w 192"/>
                <a:gd name="T67" fmla="*/ 211 h 326"/>
                <a:gd name="T68" fmla="*/ 13 w 192"/>
                <a:gd name="T69" fmla="*/ 195 h 326"/>
                <a:gd name="T70" fmla="*/ 15 w 192"/>
                <a:gd name="T71" fmla="*/ 187 h 326"/>
                <a:gd name="T72" fmla="*/ 18 w 192"/>
                <a:gd name="T73" fmla="*/ 179 h 326"/>
                <a:gd name="T74" fmla="*/ 24 w 192"/>
                <a:gd name="T75" fmla="*/ 162 h 326"/>
                <a:gd name="T76" fmla="*/ 30 w 192"/>
                <a:gd name="T77" fmla="*/ 146 h 326"/>
                <a:gd name="T78" fmla="*/ 38 w 192"/>
                <a:gd name="T79" fmla="*/ 131 h 326"/>
                <a:gd name="T80" fmla="*/ 43 w 192"/>
                <a:gd name="T81" fmla="*/ 123 h 326"/>
                <a:gd name="T82" fmla="*/ 47 w 192"/>
                <a:gd name="T83" fmla="*/ 116 h 326"/>
                <a:gd name="T84" fmla="*/ 56 w 192"/>
                <a:gd name="T85" fmla="*/ 101 h 326"/>
                <a:gd name="T86" fmla="*/ 66 w 192"/>
                <a:gd name="T87" fmla="*/ 88 h 326"/>
                <a:gd name="T88" fmla="*/ 76 w 192"/>
                <a:gd name="T89" fmla="*/ 75 h 326"/>
                <a:gd name="T90" fmla="*/ 87 w 192"/>
                <a:gd name="T91" fmla="*/ 63 h 326"/>
                <a:gd name="T92" fmla="*/ 97 w 192"/>
                <a:gd name="T93" fmla="*/ 52 h 326"/>
                <a:gd name="T94" fmla="*/ 107 w 192"/>
                <a:gd name="T95" fmla="*/ 43 h 326"/>
                <a:gd name="T96" fmla="*/ 117 w 192"/>
                <a:gd name="T97" fmla="*/ 34 h 326"/>
                <a:gd name="T98" fmla="*/ 126 w 192"/>
                <a:gd name="T99" fmla="*/ 27 h 326"/>
                <a:gd name="T100" fmla="*/ 135 w 192"/>
                <a:gd name="T101" fmla="*/ 20 h 326"/>
                <a:gd name="T102" fmla="*/ 142 w 192"/>
                <a:gd name="T103" fmla="*/ 16 h 326"/>
                <a:gd name="T104" fmla="*/ 154 w 192"/>
                <a:gd name="T105" fmla="*/ 7 h 326"/>
                <a:gd name="T106" fmla="*/ 185 w 192"/>
                <a:gd name="T107" fmla="*/ 13 h 326"/>
                <a:gd name="T108" fmla="*/ 179 w 192"/>
                <a:gd name="T109" fmla="*/ 44 h 326"/>
                <a:gd name="T110" fmla="*/ 177 w 192"/>
                <a:gd name="T111" fmla="*/ 45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2" h="326">
                  <a:moveTo>
                    <a:pt x="177" y="45"/>
                  </a:moveTo>
                  <a:cubicBezTo>
                    <a:pt x="177" y="45"/>
                    <a:pt x="172" y="47"/>
                    <a:pt x="163" y="52"/>
                  </a:cubicBezTo>
                  <a:cubicBezTo>
                    <a:pt x="161" y="53"/>
                    <a:pt x="158" y="54"/>
                    <a:pt x="156" y="56"/>
                  </a:cubicBezTo>
                  <a:cubicBezTo>
                    <a:pt x="154" y="57"/>
                    <a:pt x="151" y="59"/>
                    <a:pt x="149" y="60"/>
                  </a:cubicBezTo>
                  <a:cubicBezTo>
                    <a:pt x="146" y="62"/>
                    <a:pt x="143" y="63"/>
                    <a:pt x="140" y="65"/>
                  </a:cubicBezTo>
                  <a:cubicBezTo>
                    <a:pt x="137" y="67"/>
                    <a:pt x="134" y="69"/>
                    <a:pt x="131" y="72"/>
                  </a:cubicBezTo>
                  <a:cubicBezTo>
                    <a:pt x="128" y="74"/>
                    <a:pt x="124" y="76"/>
                    <a:pt x="121" y="79"/>
                  </a:cubicBezTo>
                  <a:cubicBezTo>
                    <a:pt x="117" y="82"/>
                    <a:pt x="114" y="85"/>
                    <a:pt x="110" y="87"/>
                  </a:cubicBezTo>
                  <a:cubicBezTo>
                    <a:pt x="107" y="90"/>
                    <a:pt x="103" y="94"/>
                    <a:pt x="100" y="97"/>
                  </a:cubicBezTo>
                  <a:cubicBezTo>
                    <a:pt x="96" y="100"/>
                    <a:pt x="92" y="103"/>
                    <a:pt x="89" y="107"/>
                  </a:cubicBezTo>
                  <a:cubicBezTo>
                    <a:pt x="86" y="111"/>
                    <a:pt x="82" y="115"/>
                    <a:pt x="79" y="118"/>
                  </a:cubicBezTo>
                  <a:cubicBezTo>
                    <a:pt x="75" y="122"/>
                    <a:pt x="72" y="127"/>
                    <a:pt x="69" y="131"/>
                  </a:cubicBezTo>
                  <a:cubicBezTo>
                    <a:pt x="67" y="133"/>
                    <a:pt x="65" y="135"/>
                    <a:pt x="64" y="137"/>
                  </a:cubicBezTo>
                  <a:cubicBezTo>
                    <a:pt x="62" y="139"/>
                    <a:pt x="61" y="141"/>
                    <a:pt x="59" y="143"/>
                  </a:cubicBezTo>
                  <a:cubicBezTo>
                    <a:pt x="56" y="148"/>
                    <a:pt x="53" y="152"/>
                    <a:pt x="50" y="157"/>
                  </a:cubicBezTo>
                  <a:cubicBezTo>
                    <a:pt x="47" y="162"/>
                    <a:pt x="44" y="166"/>
                    <a:pt x="42" y="171"/>
                  </a:cubicBezTo>
                  <a:cubicBezTo>
                    <a:pt x="39" y="176"/>
                    <a:pt x="37" y="181"/>
                    <a:pt x="34" y="186"/>
                  </a:cubicBezTo>
                  <a:cubicBezTo>
                    <a:pt x="33" y="188"/>
                    <a:pt x="32" y="190"/>
                    <a:pt x="31" y="193"/>
                  </a:cubicBezTo>
                  <a:cubicBezTo>
                    <a:pt x="30" y="195"/>
                    <a:pt x="29" y="198"/>
                    <a:pt x="28" y="200"/>
                  </a:cubicBezTo>
                  <a:cubicBezTo>
                    <a:pt x="26" y="205"/>
                    <a:pt x="23" y="210"/>
                    <a:pt x="22" y="215"/>
                  </a:cubicBezTo>
                  <a:cubicBezTo>
                    <a:pt x="19" y="225"/>
                    <a:pt x="15" y="234"/>
                    <a:pt x="13" y="243"/>
                  </a:cubicBezTo>
                  <a:cubicBezTo>
                    <a:pt x="12" y="248"/>
                    <a:pt x="11" y="252"/>
                    <a:pt x="10" y="257"/>
                  </a:cubicBezTo>
                  <a:cubicBezTo>
                    <a:pt x="9" y="261"/>
                    <a:pt x="8" y="266"/>
                    <a:pt x="8" y="270"/>
                  </a:cubicBezTo>
                  <a:cubicBezTo>
                    <a:pt x="6" y="278"/>
                    <a:pt x="5" y="286"/>
                    <a:pt x="5" y="292"/>
                  </a:cubicBezTo>
                  <a:cubicBezTo>
                    <a:pt x="4" y="296"/>
                    <a:pt x="4" y="299"/>
                    <a:pt x="4" y="302"/>
                  </a:cubicBezTo>
                  <a:cubicBezTo>
                    <a:pt x="4" y="305"/>
                    <a:pt x="4" y="308"/>
                    <a:pt x="4" y="310"/>
                  </a:cubicBezTo>
                  <a:cubicBezTo>
                    <a:pt x="4" y="320"/>
                    <a:pt x="3" y="326"/>
                    <a:pt x="3" y="326"/>
                  </a:cubicBezTo>
                  <a:cubicBezTo>
                    <a:pt x="3" y="326"/>
                    <a:pt x="3" y="320"/>
                    <a:pt x="2" y="310"/>
                  </a:cubicBezTo>
                  <a:cubicBezTo>
                    <a:pt x="2" y="308"/>
                    <a:pt x="1" y="305"/>
                    <a:pt x="1" y="302"/>
                  </a:cubicBezTo>
                  <a:cubicBezTo>
                    <a:pt x="1" y="299"/>
                    <a:pt x="1" y="296"/>
                    <a:pt x="1" y="292"/>
                  </a:cubicBezTo>
                  <a:cubicBezTo>
                    <a:pt x="1" y="285"/>
                    <a:pt x="0" y="278"/>
                    <a:pt x="1" y="269"/>
                  </a:cubicBezTo>
                  <a:cubicBezTo>
                    <a:pt x="1" y="265"/>
                    <a:pt x="1" y="260"/>
                    <a:pt x="1" y="256"/>
                  </a:cubicBezTo>
                  <a:cubicBezTo>
                    <a:pt x="2" y="251"/>
                    <a:pt x="2" y="246"/>
                    <a:pt x="3" y="241"/>
                  </a:cubicBezTo>
                  <a:cubicBezTo>
                    <a:pt x="4" y="232"/>
                    <a:pt x="6" y="221"/>
                    <a:pt x="8" y="211"/>
                  </a:cubicBezTo>
                  <a:cubicBezTo>
                    <a:pt x="9" y="206"/>
                    <a:pt x="11" y="200"/>
                    <a:pt x="13" y="195"/>
                  </a:cubicBezTo>
                  <a:cubicBezTo>
                    <a:pt x="13" y="192"/>
                    <a:pt x="14" y="189"/>
                    <a:pt x="15" y="187"/>
                  </a:cubicBezTo>
                  <a:cubicBezTo>
                    <a:pt x="16" y="184"/>
                    <a:pt x="17" y="181"/>
                    <a:pt x="18" y="179"/>
                  </a:cubicBezTo>
                  <a:cubicBezTo>
                    <a:pt x="20" y="173"/>
                    <a:pt x="21" y="168"/>
                    <a:pt x="24" y="162"/>
                  </a:cubicBezTo>
                  <a:cubicBezTo>
                    <a:pt x="26" y="157"/>
                    <a:pt x="28" y="152"/>
                    <a:pt x="30" y="146"/>
                  </a:cubicBezTo>
                  <a:cubicBezTo>
                    <a:pt x="33" y="141"/>
                    <a:pt x="36" y="136"/>
                    <a:pt x="38" y="131"/>
                  </a:cubicBezTo>
                  <a:cubicBezTo>
                    <a:pt x="40" y="128"/>
                    <a:pt x="41" y="126"/>
                    <a:pt x="43" y="123"/>
                  </a:cubicBezTo>
                  <a:cubicBezTo>
                    <a:pt x="44" y="121"/>
                    <a:pt x="46" y="118"/>
                    <a:pt x="47" y="116"/>
                  </a:cubicBezTo>
                  <a:cubicBezTo>
                    <a:pt x="50" y="111"/>
                    <a:pt x="53" y="106"/>
                    <a:pt x="56" y="101"/>
                  </a:cubicBezTo>
                  <a:cubicBezTo>
                    <a:pt x="60" y="97"/>
                    <a:pt x="63" y="92"/>
                    <a:pt x="66" y="88"/>
                  </a:cubicBezTo>
                  <a:cubicBezTo>
                    <a:pt x="69" y="83"/>
                    <a:pt x="73" y="79"/>
                    <a:pt x="76" y="75"/>
                  </a:cubicBezTo>
                  <a:cubicBezTo>
                    <a:pt x="80" y="71"/>
                    <a:pt x="83" y="67"/>
                    <a:pt x="87" y="63"/>
                  </a:cubicBezTo>
                  <a:cubicBezTo>
                    <a:pt x="90" y="59"/>
                    <a:pt x="94" y="56"/>
                    <a:pt x="97" y="52"/>
                  </a:cubicBezTo>
                  <a:cubicBezTo>
                    <a:pt x="100" y="49"/>
                    <a:pt x="104" y="46"/>
                    <a:pt x="107" y="43"/>
                  </a:cubicBezTo>
                  <a:cubicBezTo>
                    <a:pt x="111" y="40"/>
                    <a:pt x="114" y="37"/>
                    <a:pt x="117" y="34"/>
                  </a:cubicBezTo>
                  <a:cubicBezTo>
                    <a:pt x="120" y="32"/>
                    <a:pt x="123" y="29"/>
                    <a:pt x="126" y="27"/>
                  </a:cubicBezTo>
                  <a:cubicBezTo>
                    <a:pt x="129" y="25"/>
                    <a:pt x="132" y="22"/>
                    <a:pt x="135" y="20"/>
                  </a:cubicBezTo>
                  <a:cubicBezTo>
                    <a:pt x="137" y="18"/>
                    <a:pt x="140" y="17"/>
                    <a:pt x="142" y="16"/>
                  </a:cubicBezTo>
                  <a:cubicBezTo>
                    <a:pt x="150" y="10"/>
                    <a:pt x="154" y="7"/>
                    <a:pt x="154" y="7"/>
                  </a:cubicBezTo>
                  <a:cubicBezTo>
                    <a:pt x="165" y="0"/>
                    <a:pt x="178" y="3"/>
                    <a:pt x="185" y="13"/>
                  </a:cubicBezTo>
                  <a:cubicBezTo>
                    <a:pt x="192" y="23"/>
                    <a:pt x="189" y="37"/>
                    <a:pt x="179" y="44"/>
                  </a:cubicBezTo>
                  <a:cubicBezTo>
                    <a:pt x="179" y="44"/>
                    <a:pt x="178" y="44"/>
                    <a:pt x="177" y="4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75" name="íṩļîḓé">
              <a:extLst>
                <a:ext uri="{FF2B5EF4-FFF2-40B4-BE49-F238E27FC236}">
                  <a16:creationId xmlns:a16="http://schemas.microsoft.com/office/drawing/2014/main" id="{EC1B7B39-A42C-4A42-B203-D7392F62E6E1}"/>
                </a:ext>
              </a:extLst>
            </p:cNvPr>
            <p:cNvSpPr/>
            <p:nvPr/>
          </p:nvSpPr>
          <p:spPr bwMode="auto">
            <a:xfrm>
              <a:off x="5634932" y="4268772"/>
              <a:ext cx="155386" cy="149716"/>
            </a:xfrm>
            <a:custGeom>
              <a:avLst/>
              <a:gdLst>
                <a:gd name="T0" fmla="*/ 0 w 137"/>
                <a:gd name="T1" fmla="*/ 0 h 132"/>
                <a:gd name="T2" fmla="*/ 137 w 137"/>
                <a:gd name="T3" fmla="*/ 28 h 132"/>
                <a:gd name="T4" fmla="*/ 44 w 137"/>
                <a:gd name="T5" fmla="*/ 132 h 132"/>
                <a:gd name="T6" fmla="*/ 0 w 137"/>
                <a:gd name="T7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32">
                  <a:moveTo>
                    <a:pt x="0" y="0"/>
                  </a:moveTo>
                  <a:lnTo>
                    <a:pt x="137" y="28"/>
                  </a:lnTo>
                  <a:lnTo>
                    <a:pt x="44" y="1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76" name="ïsḻïďé">
              <a:extLst>
                <a:ext uri="{FF2B5EF4-FFF2-40B4-BE49-F238E27FC236}">
                  <a16:creationId xmlns:a16="http://schemas.microsoft.com/office/drawing/2014/main" id="{437826D5-CA77-4203-86AF-FECE9A697419}"/>
                </a:ext>
              </a:extLst>
            </p:cNvPr>
            <p:cNvSpPr/>
            <p:nvPr/>
          </p:nvSpPr>
          <p:spPr bwMode="auto">
            <a:xfrm>
              <a:off x="6864414" y="2932670"/>
              <a:ext cx="235917" cy="733837"/>
            </a:xfrm>
            <a:custGeom>
              <a:avLst/>
              <a:gdLst>
                <a:gd name="T0" fmla="*/ 74 w 266"/>
                <a:gd name="T1" fmla="*/ 17 h 831"/>
                <a:gd name="T2" fmla="*/ 81 w 266"/>
                <a:gd name="T3" fmla="*/ 24 h 831"/>
                <a:gd name="T4" fmla="*/ 88 w 266"/>
                <a:gd name="T5" fmla="*/ 33 h 831"/>
                <a:gd name="T6" fmla="*/ 93 w 266"/>
                <a:gd name="T7" fmla="*/ 39 h 831"/>
                <a:gd name="T8" fmla="*/ 99 w 266"/>
                <a:gd name="T9" fmla="*/ 45 h 831"/>
                <a:gd name="T10" fmla="*/ 112 w 266"/>
                <a:gd name="T11" fmla="*/ 62 h 831"/>
                <a:gd name="T12" fmla="*/ 127 w 266"/>
                <a:gd name="T13" fmla="*/ 81 h 831"/>
                <a:gd name="T14" fmla="*/ 143 w 266"/>
                <a:gd name="T15" fmla="*/ 103 h 831"/>
                <a:gd name="T16" fmla="*/ 159 w 266"/>
                <a:gd name="T17" fmla="*/ 128 h 831"/>
                <a:gd name="T18" fmla="*/ 192 w 266"/>
                <a:gd name="T19" fmla="*/ 187 h 831"/>
                <a:gd name="T20" fmla="*/ 222 w 266"/>
                <a:gd name="T21" fmla="*/ 256 h 831"/>
                <a:gd name="T22" fmla="*/ 245 w 266"/>
                <a:gd name="T23" fmla="*/ 332 h 831"/>
                <a:gd name="T24" fmla="*/ 260 w 266"/>
                <a:gd name="T25" fmla="*/ 413 h 831"/>
                <a:gd name="T26" fmla="*/ 266 w 266"/>
                <a:gd name="T27" fmla="*/ 494 h 831"/>
                <a:gd name="T28" fmla="*/ 262 w 266"/>
                <a:gd name="T29" fmla="*/ 573 h 831"/>
                <a:gd name="T30" fmla="*/ 257 w 266"/>
                <a:gd name="T31" fmla="*/ 610 h 831"/>
                <a:gd name="T32" fmla="*/ 251 w 266"/>
                <a:gd name="T33" fmla="*/ 645 h 831"/>
                <a:gd name="T34" fmla="*/ 247 w 266"/>
                <a:gd name="T35" fmla="*/ 662 h 831"/>
                <a:gd name="T36" fmla="*/ 243 w 266"/>
                <a:gd name="T37" fmla="*/ 678 h 831"/>
                <a:gd name="T38" fmla="*/ 234 w 266"/>
                <a:gd name="T39" fmla="*/ 708 h 831"/>
                <a:gd name="T40" fmla="*/ 215 w 266"/>
                <a:gd name="T41" fmla="*/ 760 h 831"/>
                <a:gd name="T42" fmla="*/ 206 w 266"/>
                <a:gd name="T43" fmla="*/ 781 h 831"/>
                <a:gd name="T44" fmla="*/ 198 w 266"/>
                <a:gd name="T45" fmla="*/ 799 h 831"/>
                <a:gd name="T46" fmla="*/ 194 w 266"/>
                <a:gd name="T47" fmla="*/ 806 h 831"/>
                <a:gd name="T48" fmla="*/ 191 w 266"/>
                <a:gd name="T49" fmla="*/ 813 h 831"/>
                <a:gd name="T50" fmla="*/ 186 w 266"/>
                <a:gd name="T51" fmla="*/ 823 h 831"/>
                <a:gd name="T52" fmla="*/ 181 w 266"/>
                <a:gd name="T53" fmla="*/ 831 h 831"/>
                <a:gd name="T54" fmla="*/ 185 w 266"/>
                <a:gd name="T55" fmla="*/ 822 h 831"/>
                <a:gd name="T56" fmla="*/ 189 w 266"/>
                <a:gd name="T57" fmla="*/ 812 h 831"/>
                <a:gd name="T58" fmla="*/ 192 w 266"/>
                <a:gd name="T59" fmla="*/ 805 h 831"/>
                <a:gd name="T60" fmla="*/ 195 w 266"/>
                <a:gd name="T61" fmla="*/ 797 h 831"/>
                <a:gd name="T62" fmla="*/ 201 w 266"/>
                <a:gd name="T63" fmla="*/ 779 h 831"/>
                <a:gd name="T64" fmla="*/ 208 w 266"/>
                <a:gd name="T65" fmla="*/ 758 h 831"/>
                <a:gd name="T66" fmla="*/ 222 w 266"/>
                <a:gd name="T67" fmla="*/ 705 h 831"/>
                <a:gd name="T68" fmla="*/ 228 w 266"/>
                <a:gd name="T69" fmla="*/ 675 h 831"/>
                <a:gd name="T70" fmla="*/ 230 w 266"/>
                <a:gd name="T71" fmla="*/ 659 h 831"/>
                <a:gd name="T72" fmla="*/ 232 w 266"/>
                <a:gd name="T73" fmla="*/ 642 h 831"/>
                <a:gd name="T74" fmla="*/ 235 w 266"/>
                <a:gd name="T75" fmla="*/ 608 h 831"/>
                <a:gd name="T76" fmla="*/ 237 w 266"/>
                <a:gd name="T77" fmla="*/ 572 h 831"/>
                <a:gd name="T78" fmla="*/ 233 w 266"/>
                <a:gd name="T79" fmla="*/ 496 h 831"/>
                <a:gd name="T80" fmla="*/ 221 w 266"/>
                <a:gd name="T81" fmla="*/ 420 h 831"/>
                <a:gd name="T82" fmla="*/ 200 w 266"/>
                <a:gd name="T83" fmla="*/ 346 h 831"/>
                <a:gd name="T84" fmla="*/ 172 w 266"/>
                <a:gd name="T85" fmla="*/ 277 h 831"/>
                <a:gd name="T86" fmla="*/ 138 w 266"/>
                <a:gd name="T87" fmla="*/ 217 h 831"/>
                <a:gd name="T88" fmla="*/ 104 w 266"/>
                <a:gd name="T89" fmla="*/ 166 h 831"/>
                <a:gd name="T90" fmla="*/ 87 w 266"/>
                <a:gd name="T91" fmla="*/ 145 h 831"/>
                <a:gd name="T92" fmla="*/ 71 w 266"/>
                <a:gd name="T93" fmla="*/ 126 h 831"/>
                <a:gd name="T94" fmla="*/ 56 w 266"/>
                <a:gd name="T95" fmla="*/ 110 h 831"/>
                <a:gd name="T96" fmla="*/ 43 w 266"/>
                <a:gd name="T97" fmla="*/ 98 h 831"/>
                <a:gd name="T98" fmla="*/ 38 w 266"/>
                <a:gd name="T99" fmla="*/ 92 h 831"/>
                <a:gd name="T100" fmla="*/ 33 w 266"/>
                <a:gd name="T101" fmla="*/ 88 h 831"/>
                <a:gd name="T102" fmla="*/ 24 w 266"/>
                <a:gd name="T103" fmla="*/ 80 h 831"/>
                <a:gd name="T104" fmla="*/ 17 w 266"/>
                <a:gd name="T105" fmla="*/ 73 h 831"/>
                <a:gd name="T106" fmla="*/ 15 w 266"/>
                <a:gd name="T107" fmla="*/ 17 h 831"/>
                <a:gd name="T108" fmla="*/ 72 w 266"/>
                <a:gd name="T109" fmla="*/ 15 h 831"/>
                <a:gd name="T110" fmla="*/ 74 w 266"/>
                <a:gd name="T111" fmla="*/ 17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6" h="831">
                  <a:moveTo>
                    <a:pt x="74" y="17"/>
                  </a:moveTo>
                  <a:cubicBezTo>
                    <a:pt x="74" y="17"/>
                    <a:pt x="76" y="20"/>
                    <a:pt x="81" y="24"/>
                  </a:cubicBezTo>
                  <a:cubicBezTo>
                    <a:pt x="83" y="27"/>
                    <a:pt x="85" y="30"/>
                    <a:pt x="88" y="33"/>
                  </a:cubicBezTo>
                  <a:cubicBezTo>
                    <a:pt x="90" y="35"/>
                    <a:pt x="91" y="36"/>
                    <a:pt x="93" y="39"/>
                  </a:cubicBezTo>
                  <a:cubicBezTo>
                    <a:pt x="95" y="41"/>
                    <a:pt x="97" y="43"/>
                    <a:pt x="99" y="45"/>
                  </a:cubicBezTo>
                  <a:cubicBezTo>
                    <a:pt x="103" y="50"/>
                    <a:pt x="108" y="56"/>
                    <a:pt x="112" y="62"/>
                  </a:cubicBezTo>
                  <a:cubicBezTo>
                    <a:pt x="117" y="67"/>
                    <a:pt x="122" y="74"/>
                    <a:pt x="127" y="81"/>
                  </a:cubicBezTo>
                  <a:cubicBezTo>
                    <a:pt x="132" y="88"/>
                    <a:pt x="137" y="95"/>
                    <a:pt x="143" y="103"/>
                  </a:cubicBezTo>
                  <a:cubicBezTo>
                    <a:pt x="148" y="111"/>
                    <a:pt x="153" y="119"/>
                    <a:pt x="159" y="128"/>
                  </a:cubicBezTo>
                  <a:cubicBezTo>
                    <a:pt x="170" y="146"/>
                    <a:pt x="181" y="166"/>
                    <a:pt x="192" y="187"/>
                  </a:cubicBezTo>
                  <a:cubicBezTo>
                    <a:pt x="203" y="208"/>
                    <a:pt x="213" y="232"/>
                    <a:pt x="222" y="256"/>
                  </a:cubicBezTo>
                  <a:cubicBezTo>
                    <a:pt x="231" y="280"/>
                    <a:pt x="239" y="306"/>
                    <a:pt x="245" y="332"/>
                  </a:cubicBezTo>
                  <a:cubicBezTo>
                    <a:pt x="252" y="359"/>
                    <a:pt x="257" y="386"/>
                    <a:pt x="260" y="413"/>
                  </a:cubicBezTo>
                  <a:cubicBezTo>
                    <a:pt x="264" y="440"/>
                    <a:pt x="265" y="468"/>
                    <a:pt x="266" y="494"/>
                  </a:cubicBezTo>
                  <a:cubicBezTo>
                    <a:pt x="266" y="521"/>
                    <a:pt x="265" y="548"/>
                    <a:pt x="262" y="573"/>
                  </a:cubicBezTo>
                  <a:cubicBezTo>
                    <a:pt x="261" y="586"/>
                    <a:pt x="259" y="598"/>
                    <a:pt x="257" y="610"/>
                  </a:cubicBezTo>
                  <a:cubicBezTo>
                    <a:pt x="255" y="622"/>
                    <a:pt x="253" y="634"/>
                    <a:pt x="251" y="645"/>
                  </a:cubicBezTo>
                  <a:cubicBezTo>
                    <a:pt x="249" y="651"/>
                    <a:pt x="248" y="657"/>
                    <a:pt x="247" y="662"/>
                  </a:cubicBezTo>
                  <a:cubicBezTo>
                    <a:pt x="245" y="668"/>
                    <a:pt x="244" y="673"/>
                    <a:pt x="243" y="678"/>
                  </a:cubicBezTo>
                  <a:cubicBezTo>
                    <a:pt x="240" y="689"/>
                    <a:pt x="237" y="699"/>
                    <a:pt x="234" y="708"/>
                  </a:cubicBezTo>
                  <a:cubicBezTo>
                    <a:pt x="228" y="728"/>
                    <a:pt x="221" y="745"/>
                    <a:pt x="215" y="760"/>
                  </a:cubicBezTo>
                  <a:cubicBezTo>
                    <a:pt x="212" y="768"/>
                    <a:pt x="209" y="775"/>
                    <a:pt x="206" y="781"/>
                  </a:cubicBezTo>
                  <a:cubicBezTo>
                    <a:pt x="203" y="788"/>
                    <a:pt x="200" y="793"/>
                    <a:pt x="198" y="799"/>
                  </a:cubicBezTo>
                  <a:cubicBezTo>
                    <a:pt x="197" y="801"/>
                    <a:pt x="195" y="804"/>
                    <a:pt x="194" y="806"/>
                  </a:cubicBezTo>
                  <a:cubicBezTo>
                    <a:pt x="193" y="808"/>
                    <a:pt x="192" y="811"/>
                    <a:pt x="191" y="813"/>
                  </a:cubicBezTo>
                  <a:cubicBezTo>
                    <a:pt x="189" y="817"/>
                    <a:pt x="187" y="820"/>
                    <a:pt x="186" y="823"/>
                  </a:cubicBezTo>
                  <a:cubicBezTo>
                    <a:pt x="183" y="828"/>
                    <a:pt x="181" y="831"/>
                    <a:pt x="181" y="831"/>
                  </a:cubicBezTo>
                  <a:cubicBezTo>
                    <a:pt x="181" y="831"/>
                    <a:pt x="182" y="828"/>
                    <a:pt x="185" y="822"/>
                  </a:cubicBezTo>
                  <a:cubicBezTo>
                    <a:pt x="186" y="820"/>
                    <a:pt x="187" y="816"/>
                    <a:pt x="189" y="812"/>
                  </a:cubicBezTo>
                  <a:cubicBezTo>
                    <a:pt x="190" y="810"/>
                    <a:pt x="191" y="808"/>
                    <a:pt x="192" y="805"/>
                  </a:cubicBezTo>
                  <a:cubicBezTo>
                    <a:pt x="193" y="803"/>
                    <a:pt x="194" y="800"/>
                    <a:pt x="195" y="797"/>
                  </a:cubicBezTo>
                  <a:cubicBezTo>
                    <a:pt x="197" y="792"/>
                    <a:pt x="199" y="786"/>
                    <a:pt x="201" y="779"/>
                  </a:cubicBezTo>
                  <a:cubicBezTo>
                    <a:pt x="203" y="773"/>
                    <a:pt x="206" y="765"/>
                    <a:pt x="208" y="758"/>
                  </a:cubicBezTo>
                  <a:cubicBezTo>
                    <a:pt x="213" y="742"/>
                    <a:pt x="218" y="725"/>
                    <a:pt x="222" y="705"/>
                  </a:cubicBezTo>
                  <a:cubicBezTo>
                    <a:pt x="224" y="696"/>
                    <a:pt x="226" y="685"/>
                    <a:pt x="228" y="675"/>
                  </a:cubicBezTo>
                  <a:cubicBezTo>
                    <a:pt x="229" y="670"/>
                    <a:pt x="229" y="664"/>
                    <a:pt x="230" y="659"/>
                  </a:cubicBezTo>
                  <a:cubicBezTo>
                    <a:pt x="231" y="653"/>
                    <a:pt x="232" y="648"/>
                    <a:pt x="232" y="642"/>
                  </a:cubicBezTo>
                  <a:cubicBezTo>
                    <a:pt x="233" y="631"/>
                    <a:pt x="235" y="620"/>
                    <a:pt x="235" y="608"/>
                  </a:cubicBezTo>
                  <a:cubicBezTo>
                    <a:pt x="236" y="596"/>
                    <a:pt x="237" y="584"/>
                    <a:pt x="237" y="572"/>
                  </a:cubicBezTo>
                  <a:cubicBezTo>
                    <a:pt x="237" y="547"/>
                    <a:pt x="236" y="522"/>
                    <a:pt x="233" y="496"/>
                  </a:cubicBezTo>
                  <a:cubicBezTo>
                    <a:pt x="231" y="471"/>
                    <a:pt x="227" y="445"/>
                    <a:pt x="221" y="420"/>
                  </a:cubicBezTo>
                  <a:cubicBezTo>
                    <a:pt x="215" y="395"/>
                    <a:pt x="208" y="370"/>
                    <a:pt x="200" y="346"/>
                  </a:cubicBezTo>
                  <a:cubicBezTo>
                    <a:pt x="191" y="322"/>
                    <a:pt x="182" y="299"/>
                    <a:pt x="172" y="277"/>
                  </a:cubicBezTo>
                  <a:cubicBezTo>
                    <a:pt x="161" y="256"/>
                    <a:pt x="150" y="235"/>
                    <a:pt x="138" y="217"/>
                  </a:cubicBezTo>
                  <a:cubicBezTo>
                    <a:pt x="127" y="198"/>
                    <a:pt x="115" y="181"/>
                    <a:pt x="104" y="166"/>
                  </a:cubicBezTo>
                  <a:cubicBezTo>
                    <a:pt x="98" y="159"/>
                    <a:pt x="92" y="151"/>
                    <a:pt x="87" y="145"/>
                  </a:cubicBezTo>
                  <a:cubicBezTo>
                    <a:pt x="81" y="138"/>
                    <a:pt x="76" y="132"/>
                    <a:pt x="71" y="126"/>
                  </a:cubicBezTo>
                  <a:cubicBezTo>
                    <a:pt x="65" y="120"/>
                    <a:pt x="60" y="115"/>
                    <a:pt x="56" y="110"/>
                  </a:cubicBezTo>
                  <a:cubicBezTo>
                    <a:pt x="51" y="106"/>
                    <a:pt x="47" y="102"/>
                    <a:pt x="43" y="98"/>
                  </a:cubicBezTo>
                  <a:cubicBezTo>
                    <a:pt x="42" y="96"/>
                    <a:pt x="40" y="94"/>
                    <a:pt x="38" y="92"/>
                  </a:cubicBezTo>
                  <a:cubicBezTo>
                    <a:pt x="36" y="91"/>
                    <a:pt x="34" y="89"/>
                    <a:pt x="33" y="88"/>
                  </a:cubicBezTo>
                  <a:cubicBezTo>
                    <a:pt x="30" y="84"/>
                    <a:pt x="27" y="82"/>
                    <a:pt x="24" y="80"/>
                  </a:cubicBezTo>
                  <a:cubicBezTo>
                    <a:pt x="20" y="75"/>
                    <a:pt x="17" y="73"/>
                    <a:pt x="17" y="73"/>
                  </a:cubicBezTo>
                  <a:cubicBezTo>
                    <a:pt x="1" y="58"/>
                    <a:pt x="0" y="33"/>
                    <a:pt x="15" y="17"/>
                  </a:cubicBezTo>
                  <a:cubicBezTo>
                    <a:pt x="30" y="1"/>
                    <a:pt x="55" y="0"/>
                    <a:pt x="72" y="15"/>
                  </a:cubicBezTo>
                  <a:cubicBezTo>
                    <a:pt x="72" y="15"/>
                    <a:pt x="73" y="16"/>
                    <a:pt x="74" y="1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77" name="is1ïdê">
              <a:extLst>
                <a:ext uri="{FF2B5EF4-FFF2-40B4-BE49-F238E27FC236}">
                  <a16:creationId xmlns:a16="http://schemas.microsoft.com/office/drawing/2014/main" id="{C40F2181-D6F1-4BE9-9AE8-EEAA08C39720}"/>
                </a:ext>
              </a:extLst>
            </p:cNvPr>
            <p:cNvSpPr/>
            <p:nvPr/>
          </p:nvSpPr>
          <p:spPr bwMode="auto">
            <a:xfrm>
              <a:off x="6749860" y="2863483"/>
              <a:ext cx="263136" cy="242722"/>
            </a:xfrm>
            <a:custGeom>
              <a:avLst/>
              <a:gdLst>
                <a:gd name="T0" fmla="*/ 93 w 232"/>
                <a:gd name="T1" fmla="*/ 214 h 214"/>
                <a:gd name="T2" fmla="*/ 0 w 232"/>
                <a:gd name="T3" fmla="*/ 0 h 214"/>
                <a:gd name="T4" fmla="*/ 232 w 232"/>
                <a:gd name="T5" fmla="*/ 27 h 214"/>
                <a:gd name="T6" fmla="*/ 93 w 232"/>
                <a:gd name="T7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14">
                  <a:moveTo>
                    <a:pt x="93" y="214"/>
                  </a:moveTo>
                  <a:lnTo>
                    <a:pt x="0" y="0"/>
                  </a:lnTo>
                  <a:lnTo>
                    <a:pt x="232" y="27"/>
                  </a:lnTo>
                  <a:lnTo>
                    <a:pt x="93" y="2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78" name="íšļíďé">
              <a:extLst>
                <a:ext uri="{FF2B5EF4-FFF2-40B4-BE49-F238E27FC236}">
                  <a16:creationId xmlns:a16="http://schemas.microsoft.com/office/drawing/2014/main" id="{E1A00CBB-6AFD-4064-9191-574C838AE0F2}"/>
                </a:ext>
              </a:extLst>
            </p:cNvPr>
            <p:cNvSpPr/>
            <p:nvPr/>
          </p:nvSpPr>
          <p:spPr bwMode="auto">
            <a:xfrm>
              <a:off x="4515466" y="2116037"/>
              <a:ext cx="283552" cy="615878"/>
            </a:xfrm>
            <a:custGeom>
              <a:avLst/>
              <a:gdLst>
                <a:gd name="T0" fmla="*/ 300 w 320"/>
                <a:gd name="T1" fmla="*/ 65 h 698"/>
                <a:gd name="T2" fmla="*/ 293 w 320"/>
                <a:gd name="T3" fmla="*/ 69 h 698"/>
                <a:gd name="T4" fmla="*/ 284 w 320"/>
                <a:gd name="T5" fmla="*/ 75 h 698"/>
                <a:gd name="T6" fmla="*/ 279 w 320"/>
                <a:gd name="T7" fmla="*/ 78 h 698"/>
                <a:gd name="T8" fmla="*/ 273 w 320"/>
                <a:gd name="T9" fmla="*/ 82 h 698"/>
                <a:gd name="T10" fmla="*/ 260 w 320"/>
                <a:gd name="T11" fmla="*/ 91 h 698"/>
                <a:gd name="T12" fmla="*/ 244 w 320"/>
                <a:gd name="T13" fmla="*/ 102 h 698"/>
                <a:gd name="T14" fmla="*/ 227 w 320"/>
                <a:gd name="T15" fmla="*/ 115 h 698"/>
                <a:gd name="T16" fmla="*/ 208 w 320"/>
                <a:gd name="T17" fmla="*/ 131 h 698"/>
                <a:gd name="T18" fmla="*/ 169 w 320"/>
                <a:gd name="T19" fmla="*/ 169 h 698"/>
                <a:gd name="T20" fmla="*/ 130 w 320"/>
                <a:gd name="T21" fmla="*/ 216 h 698"/>
                <a:gd name="T22" fmla="*/ 93 w 320"/>
                <a:gd name="T23" fmla="*/ 271 h 698"/>
                <a:gd name="T24" fmla="*/ 62 w 320"/>
                <a:gd name="T25" fmla="*/ 332 h 698"/>
                <a:gd name="T26" fmla="*/ 39 w 320"/>
                <a:gd name="T27" fmla="*/ 397 h 698"/>
                <a:gd name="T28" fmla="*/ 23 w 320"/>
                <a:gd name="T29" fmla="*/ 462 h 698"/>
                <a:gd name="T30" fmla="*/ 19 w 320"/>
                <a:gd name="T31" fmla="*/ 494 h 698"/>
                <a:gd name="T32" fmla="*/ 16 w 320"/>
                <a:gd name="T33" fmla="*/ 525 h 698"/>
                <a:gd name="T34" fmla="*/ 15 w 320"/>
                <a:gd name="T35" fmla="*/ 554 h 698"/>
                <a:gd name="T36" fmla="*/ 15 w 320"/>
                <a:gd name="T37" fmla="*/ 582 h 698"/>
                <a:gd name="T38" fmla="*/ 18 w 320"/>
                <a:gd name="T39" fmla="*/ 630 h 698"/>
                <a:gd name="T40" fmla="*/ 21 w 320"/>
                <a:gd name="T41" fmla="*/ 649 h 698"/>
                <a:gd name="T42" fmla="*/ 24 w 320"/>
                <a:gd name="T43" fmla="*/ 666 h 698"/>
                <a:gd name="T44" fmla="*/ 25 w 320"/>
                <a:gd name="T45" fmla="*/ 674 h 698"/>
                <a:gd name="T46" fmla="*/ 26 w 320"/>
                <a:gd name="T47" fmla="*/ 680 h 698"/>
                <a:gd name="T48" fmla="*/ 29 w 320"/>
                <a:gd name="T49" fmla="*/ 690 h 698"/>
                <a:gd name="T50" fmla="*/ 30 w 320"/>
                <a:gd name="T51" fmla="*/ 698 h 698"/>
                <a:gd name="T52" fmla="*/ 28 w 320"/>
                <a:gd name="T53" fmla="*/ 690 h 698"/>
                <a:gd name="T54" fmla="*/ 25 w 320"/>
                <a:gd name="T55" fmla="*/ 680 h 698"/>
                <a:gd name="T56" fmla="*/ 23 w 320"/>
                <a:gd name="T57" fmla="*/ 674 h 698"/>
                <a:gd name="T58" fmla="*/ 21 w 320"/>
                <a:gd name="T59" fmla="*/ 667 h 698"/>
                <a:gd name="T60" fmla="*/ 17 w 320"/>
                <a:gd name="T61" fmla="*/ 650 h 698"/>
                <a:gd name="T62" fmla="*/ 12 w 320"/>
                <a:gd name="T63" fmla="*/ 630 h 698"/>
                <a:gd name="T64" fmla="*/ 5 w 320"/>
                <a:gd name="T65" fmla="*/ 582 h 698"/>
                <a:gd name="T66" fmla="*/ 2 w 320"/>
                <a:gd name="T67" fmla="*/ 554 h 698"/>
                <a:gd name="T68" fmla="*/ 1 w 320"/>
                <a:gd name="T69" fmla="*/ 524 h 698"/>
                <a:gd name="T70" fmla="*/ 1 w 320"/>
                <a:gd name="T71" fmla="*/ 493 h 698"/>
                <a:gd name="T72" fmla="*/ 3 w 320"/>
                <a:gd name="T73" fmla="*/ 460 h 698"/>
                <a:gd name="T74" fmla="*/ 13 w 320"/>
                <a:gd name="T75" fmla="*/ 391 h 698"/>
                <a:gd name="T76" fmla="*/ 32 w 320"/>
                <a:gd name="T77" fmla="*/ 321 h 698"/>
                <a:gd name="T78" fmla="*/ 59 w 320"/>
                <a:gd name="T79" fmla="*/ 253 h 698"/>
                <a:gd name="T80" fmla="*/ 93 w 320"/>
                <a:gd name="T81" fmla="*/ 191 h 698"/>
                <a:gd name="T82" fmla="*/ 131 w 320"/>
                <a:gd name="T83" fmla="*/ 137 h 698"/>
                <a:gd name="T84" fmla="*/ 170 w 320"/>
                <a:gd name="T85" fmla="*/ 91 h 698"/>
                <a:gd name="T86" fmla="*/ 189 w 320"/>
                <a:gd name="T87" fmla="*/ 72 h 698"/>
                <a:gd name="T88" fmla="*/ 207 w 320"/>
                <a:gd name="T89" fmla="*/ 56 h 698"/>
                <a:gd name="T90" fmla="*/ 223 w 320"/>
                <a:gd name="T91" fmla="*/ 42 h 698"/>
                <a:gd name="T92" fmla="*/ 237 w 320"/>
                <a:gd name="T93" fmla="*/ 31 h 698"/>
                <a:gd name="T94" fmla="*/ 244 w 320"/>
                <a:gd name="T95" fmla="*/ 26 h 698"/>
                <a:gd name="T96" fmla="*/ 249 w 320"/>
                <a:gd name="T97" fmla="*/ 22 h 698"/>
                <a:gd name="T98" fmla="*/ 257 w 320"/>
                <a:gd name="T99" fmla="*/ 16 h 698"/>
                <a:gd name="T100" fmla="*/ 264 w 320"/>
                <a:gd name="T101" fmla="*/ 11 h 698"/>
                <a:gd name="T102" fmla="*/ 310 w 320"/>
                <a:gd name="T103" fmla="*/ 18 h 698"/>
                <a:gd name="T104" fmla="*/ 302 w 320"/>
                <a:gd name="T105" fmla="*/ 63 h 698"/>
                <a:gd name="T106" fmla="*/ 300 w 320"/>
                <a:gd name="T107" fmla="*/ 65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698">
                  <a:moveTo>
                    <a:pt x="300" y="65"/>
                  </a:moveTo>
                  <a:cubicBezTo>
                    <a:pt x="300" y="65"/>
                    <a:pt x="298" y="67"/>
                    <a:pt x="293" y="69"/>
                  </a:cubicBezTo>
                  <a:cubicBezTo>
                    <a:pt x="290" y="71"/>
                    <a:pt x="288" y="73"/>
                    <a:pt x="284" y="75"/>
                  </a:cubicBezTo>
                  <a:cubicBezTo>
                    <a:pt x="282" y="76"/>
                    <a:pt x="280" y="77"/>
                    <a:pt x="279" y="78"/>
                  </a:cubicBezTo>
                  <a:cubicBezTo>
                    <a:pt x="277" y="79"/>
                    <a:pt x="275" y="80"/>
                    <a:pt x="273" y="82"/>
                  </a:cubicBezTo>
                  <a:cubicBezTo>
                    <a:pt x="269" y="84"/>
                    <a:pt x="265" y="87"/>
                    <a:pt x="260" y="91"/>
                  </a:cubicBezTo>
                  <a:cubicBezTo>
                    <a:pt x="255" y="94"/>
                    <a:pt x="250" y="98"/>
                    <a:pt x="244" y="102"/>
                  </a:cubicBezTo>
                  <a:cubicBezTo>
                    <a:pt x="239" y="106"/>
                    <a:pt x="233" y="110"/>
                    <a:pt x="227" y="115"/>
                  </a:cubicBezTo>
                  <a:cubicBezTo>
                    <a:pt x="221" y="120"/>
                    <a:pt x="215" y="125"/>
                    <a:pt x="208" y="131"/>
                  </a:cubicBezTo>
                  <a:cubicBezTo>
                    <a:pt x="196" y="142"/>
                    <a:pt x="182" y="155"/>
                    <a:pt x="169" y="169"/>
                  </a:cubicBezTo>
                  <a:cubicBezTo>
                    <a:pt x="156" y="183"/>
                    <a:pt x="143" y="199"/>
                    <a:pt x="130" y="216"/>
                  </a:cubicBezTo>
                  <a:cubicBezTo>
                    <a:pt x="117" y="233"/>
                    <a:pt x="105" y="252"/>
                    <a:pt x="93" y="271"/>
                  </a:cubicBezTo>
                  <a:cubicBezTo>
                    <a:pt x="82" y="291"/>
                    <a:pt x="72" y="311"/>
                    <a:pt x="62" y="332"/>
                  </a:cubicBezTo>
                  <a:cubicBezTo>
                    <a:pt x="53" y="353"/>
                    <a:pt x="45" y="375"/>
                    <a:pt x="39" y="397"/>
                  </a:cubicBezTo>
                  <a:cubicBezTo>
                    <a:pt x="32" y="419"/>
                    <a:pt x="27" y="441"/>
                    <a:pt x="23" y="462"/>
                  </a:cubicBezTo>
                  <a:cubicBezTo>
                    <a:pt x="22" y="473"/>
                    <a:pt x="20" y="484"/>
                    <a:pt x="19" y="494"/>
                  </a:cubicBezTo>
                  <a:cubicBezTo>
                    <a:pt x="17" y="505"/>
                    <a:pt x="17" y="515"/>
                    <a:pt x="16" y="525"/>
                  </a:cubicBezTo>
                  <a:cubicBezTo>
                    <a:pt x="15" y="535"/>
                    <a:pt x="15" y="545"/>
                    <a:pt x="15" y="554"/>
                  </a:cubicBezTo>
                  <a:cubicBezTo>
                    <a:pt x="15" y="564"/>
                    <a:pt x="14" y="573"/>
                    <a:pt x="15" y="582"/>
                  </a:cubicBezTo>
                  <a:cubicBezTo>
                    <a:pt x="15" y="599"/>
                    <a:pt x="17" y="615"/>
                    <a:pt x="18" y="630"/>
                  </a:cubicBezTo>
                  <a:cubicBezTo>
                    <a:pt x="19" y="637"/>
                    <a:pt x="20" y="643"/>
                    <a:pt x="21" y="649"/>
                  </a:cubicBezTo>
                  <a:cubicBezTo>
                    <a:pt x="22" y="656"/>
                    <a:pt x="23" y="661"/>
                    <a:pt x="24" y="666"/>
                  </a:cubicBezTo>
                  <a:cubicBezTo>
                    <a:pt x="24" y="669"/>
                    <a:pt x="25" y="671"/>
                    <a:pt x="25" y="674"/>
                  </a:cubicBezTo>
                  <a:cubicBezTo>
                    <a:pt x="26" y="676"/>
                    <a:pt x="26" y="678"/>
                    <a:pt x="26" y="680"/>
                  </a:cubicBezTo>
                  <a:cubicBezTo>
                    <a:pt x="27" y="684"/>
                    <a:pt x="28" y="687"/>
                    <a:pt x="29" y="690"/>
                  </a:cubicBezTo>
                  <a:cubicBezTo>
                    <a:pt x="30" y="695"/>
                    <a:pt x="30" y="698"/>
                    <a:pt x="30" y="698"/>
                  </a:cubicBezTo>
                  <a:cubicBezTo>
                    <a:pt x="30" y="698"/>
                    <a:pt x="30" y="695"/>
                    <a:pt x="28" y="690"/>
                  </a:cubicBezTo>
                  <a:cubicBezTo>
                    <a:pt x="27" y="687"/>
                    <a:pt x="26" y="684"/>
                    <a:pt x="25" y="680"/>
                  </a:cubicBezTo>
                  <a:cubicBezTo>
                    <a:pt x="24" y="678"/>
                    <a:pt x="24" y="676"/>
                    <a:pt x="23" y="674"/>
                  </a:cubicBezTo>
                  <a:cubicBezTo>
                    <a:pt x="22" y="672"/>
                    <a:pt x="22" y="669"/>
                    <a:pt x="21" y="667"/>
                  </a:cubicBezTo>
                  <a:cubicBezTo>
                    <a:pt x="20" y="662"/>
                    <a:pt x="18" y="656"/>
                    <a:pt x="17" y="650"/>
                  </a:cubicBezTo>
                  <a:cubicBezTo>
                    <a:pt x="15" y="644"/>
                    <a:pt x="14" y="638"/>
                    <a:pt x="12" y="630"/>
                  </a:cubicBezTo>
                  <a:cubicBezTo>
                    <a:pt x="10" y="616"/>
                    <a:pt x="7" y="600"/>
                    <a:pt x="5" y="582"/>
                  </a:cubicBezTo>
                  <a:cubicBezTo>
                    <a:pt x="4" y="573"/>
                    <a:pt x="3" y="564"/>
                    <a:pt x="2" y="554"/>
                  </a:cubicBezTo>
                  <a:cubicBezTo>
                    <a:pt x="2" y="545"/>
                    <a:pt x="1" y="535"/>
                    <a:pt x="1" y="524"/>
                  </a:cubicBezTo>
                  <a:cubicBezTo>
                    <a:pt x="1" y="514"/>
                    <a:pt x="0" y="504"/>
                    <a:pt x="1" y="493"/>
                  </a:cubicBezTo>
                  <a:cubicBezTo>
                    <a:pt x="1" y="482"/>
                    <a:pt x="2" y="471"/>
                    <a:pt x="3" y="460"/>
                  </a:cubicBezTo>
                  <a:cubicBezTo>
                    <a:pt x="5" y="437"/>
                    <a:pt x="8" y="414"/>
                    <a:pt x="13" y="391"/>
                  </a:cubicBezTo>
                  <a:cubicBezTo>
                    <a:pt x="18" y="367"/>
                    <a:pt x="24" y="344"/>
                    <a:pt x="32" y="321"/>
                  </a:cubicBezTo>
                  <a:cubicBezTo>
                    <a:pt x="40" y="298"/>
                    <a:pt x="49" y="275"/>
                    <a:pt x="59" y="253"/>
                  </a:cubicBezTo>
                  <a:cubicBezTo>
                    <a:pt x="69" y="231"/>
                    <a:pt x="81" y="211"/>
                    <a:pt x="93" y="191"/>
                  </a:cubicBezTo>
                  <a:cubicBezTo>
                    <a:pt x="105" y="172"/>
                    <a:pt x="118" y="153"/>
                    <a:pt x="131" y="137"/>
                  </a:cubicBezTo>
                  <a:cubicBezTo>
                    <a:pt x="144" y="120"/>
                    <a:pt x="158" y="105"/>
                    <a:pt x="170" y="91"/>
                  </a:cubicBezTo>
                  <a:cubicBezTo>
                    <a:pt x="177" y="85"/>
                    <a:pt x="183" y="78"/>
                    <a:pt x="189" y="72"/>
                  </a:cubicBezTo>
                  <a:cubicBezTo>
                    <a:pt x="195" y="67"/>
                    <a:pt x="201" y="61"/>
                    <a:pt x="207" y="56"/>
                  </a:cubicBezTo>
                  <a:cubicBezTo>
                    <a:pt x="213" y="51"/>
                    <a:pt x="218" y="46"/>
                    <a:pt x="223" y="42"/>
                  </a:cubicBezTo>
                  <a:cubicBezTo>
                    <a:pt x="228" y="38"/>
                    <a:pt x="233" y="34"/>
                    <a:pt x="237" y="31"/>
                  </a:cubicBezTo>
                  <a:cubicBezTo>
                    <a:pt x="240" y="29"/>
                    <a:pt x="242" y="27"/>
                    <a:pt x="244" y="26"/>
                  </a:cubicBezTo>
                  <a:cubicBezTo>
                    <a:pt x="246" y="24"/>
                    <a:pt x="247" y="23"/>
                    <a:pt x="249" y="22"/>
                  </a:cubicBezTo>
                  <a:cubicBezTo>
                    <a:pt x="252" y="19"/>
                    <a:pt x="255" y="17"/>
                    <a:pt x="257" y="16"/>
                  </a:cubicBezTo>
                  <a:cubicBezTo>
                    <a:pt x="262" y="13"/>
                    <a:pt x="264" y="11"/>
                    <a:pt x="264" y="11"/>
                  </a:cubicBezTo>
                  <a:cubicBezTo>
                    <a:pt x="279" y="0"/>
                    <a:pt x="299" y="3"/>
                    <a:pt x="310" y="18"/>
                  </a:cubicBezTo>
                  <a:cubicBezTo>
                    <a:pt x="320" y="32"/>
                    <a:pt x="317" y="53"/>
                    <a:pt x="302" y="63"/>
                  </a:cubicBezTo>
                  <a:cubicBezTo>
                    <a:pt x="302" y="64"/>
                    <a:pt x="301" y="65"/>
                    <a:pt x="300" y="6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79" name="íşḷídé">
              <a:extLst>
                <a:ext uri="{FF2B5EF4-FFF2-40B4-BE49-F238E27FC236}">
                  <a16:creationId xmlns:a16="http://schemas.microsoft.com/office/drawing/2014/main" id="{988076FE-5890-440D-B519-27FD8D85C462}"/>
                </a:ext>
              </a:extLst>
            </p:cNvPr>
            <p:cNvSpPr/>
            <p:nvPr/>
          </p:nvSpPr>
          <p:spPr bwMode="auto">
            <a:xfrm>
              <a:off x="4693536" y="2069535"/>
              <a:ext cx="210962" cy="191683"/>
            </a:xfrm>
            <a:custGeom>
              <a:avLst/>
              <a:gdLst>
                <a:gd name="T0" fmla="*/ 0 w 186"/>
                <a:gd name="T1" fmla="*/ 0 h 169"/>
                <a:gd name="T2" fmla="*/ 186 w 186"/>
                <a:gd name="T3" fmla="*/ 16 h 169"/>
                <a:gd name="T4" fmla="*/ 80 w 186"/>
                <a:gd name="T5" fmla="*/ 169 h 169"/>
                <a:gd name="T6" fmla="*/ 0 w 186"/>
                <a:gd name="T7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6" h="169">
                  <a:moveTo>
                    <a:pt x="0" y="0"/>
                  </a:moveTo>
                  <a:lnTo>
                    <a:pt x="186" y="16"/>
                  </a:lnTo>
                  <a:lnTo>
                    <a:pt x="80" y="1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80" name="isļîḍê">
              <a:extLst>
                <a:ext uri="{FF2B5EF4-FFF2-40B4-BE49-F238E27FC236}">
                  <a16:creationId xmlns:a16="http://schemas.microsoft.com/office/drawing/2014/main" id="{BE0E5F3B-C8F0-402D-A8FD-F8E0F72E590F}"/>
                </a:ext>
              </a:extLst>
            </p:cNvPr>
            <p:cNvSpPr/>
            <p:nvPr/>
          </p:nvSpPr>
          <p:spPr bwMode="auto">
            <a:xfrm>
              <a:off x="6081810" y="5127371"/>
              <a:ext cx="69186" cy="175803"/>
            </a:xfrm>
            <a:custGeom>
              <a:avLst/>
              <a:gdLst>
                <a:gd name="T0" fmla="*/ 50 w 78"/>
                <a:gd name="T1" fmla="*/ 193 h 200"/>
                <a:gd name="T2" fmla="*/ 44 w 78"/>
                <a:gd name="T3" fmla="*/ 187 h 200"/>
                <a:gd name="T4" fmla="*/ 41 w 78"/>
                <a:gd name="T5" fmla="*/ 183 h 200"/>
                <a:gd name="T6" fmla="*/ 38 w 78"/>
                <a:gd name="T7" fmla="*/ 178 h 200"/>
                <a:gd name="T8" fmla="*/ 34 w 78"/>
                <a:gd name="T9" fmla="*/ 173 h 200"/>
                <a:gd name="T10" fmla="*/ 30 w 78"/>
                <a:gd name="T11" fmla="*/ 167 h 200"/>
                <a:gd name="T12" fmla="*/ 22 w 78"/>
                <a:gd name="T13" fmla="*/ 153 h 200"/>
                <a:gd name="T14" fmla="*/ 18 w 78"/>
                <a:gd name="T15" fmla="*/ 145 h 200"/>
                <a:gd name="T16" fmla="*/ 15 w 78"/>
                <a:gd name="T17" fmla="*/ 137 h 200"/>
                <a:gd name="T18" fmla="*/ 11 w 78"/>
                <a:gd name="T19" fmla="*/ 128 h 200"/>
                <a:gd name="T20" fmla="*/ 9 w 78"/>
                <a:gd name="T21" fmla="*/ 119 h 200"/>
                <a:gd name="T22" fmla="*/ 7 w 78"/>
                <a:gd name="T23" fmla="*/ 114 h 200"/>
                <a:gd name="T24" fmla="*/ 6 w 78"/>
                <a:gd name="T25" fmla="*/ 110 h 200"/>
                <a:gd name="T26" fmla="*/ 4 w 78"/>
                <a:gd name="T27" fmla="*/ 100 h 200"/>
                <a:gd name="T28" fmla="*/ 2 w 78"/>
                <a:gd name="T29" fmla="*/ 91 h 200"/>
                <a:gd name="T30" fmla="*/ 1 w 78"/>
                <a:gd name="T31" fmla="*/ 81 h 200"/>
                <a:gd name="T32" fmla="*/ 1 w 78"/>
                <a:gd name="T33" fmla="*/ 76 h 200"/>
                <a:gd name="T34" fmla="*/ 1 w 78"/>
                <a:gd name="T35" fmla="*/ 72 h 200"/>
                <a:gd name="T36" fmla="*/ 0 w 78"/>
                <a:gd name="T37" fmla="*/ 63 h 200"/>
                <a:gd name="T38" fmla="*/ 1 w 78"/>
                <a:gd name="T39" fmla="*/ 46 h 200"/>
                <a:gd name="T40" fmla="*/ 2 w 78"/>
                <a:gd name="T41" fmla="*/ 38 h 200"/>
                <a:gd name="T42" fmla="*/ 3 w 78"/>
                <a:gd name="T43" fmla="*/ 30 h 200"/>
                <a:gd name="T44" fmla="*/ 6 w 78"/>
                <a:gd name="T45" fmla="*/ 18 h 200"/>
                <a:gd name="T46" fmla="*/ 7 w 78"/>
                <a:gd name="T47" fmla="*/ 13 h 200"/>
                <a:gd name="T48" fmla="*/ 9 w 78"/>
                <a:gd name="T49" fmla="*/ 8 h 200"/>
                <a:gd name="T50" fmla="*/ 11 w 78"/>
                <a:gd name="T51" fmla="*/ 0 h 200"/>
                <a:gd name="T52" fmla="*/ 10 w 78"/>
                <a:gd name="T53" fmla="*/ 9 h 200"/>
                <a:gd name="T54" fmla="*/ 9 w 78"/>
                <a:gd name="T55" fmla="*/ 13 h 200"/>
                <a:gd name="T56" fmla="*/ 9 w 78"/>
                <a:gd name="T57" fmla="*/ 18 h 200"/>
                <a:gd name="T58" fmla="*/ 8 w 78"/>
                <a:gd name="T59" fmla="*/ 31 h 200"/>
                <a:gd name="T60" fmla="*/ 8 w 78"/>
                <a:gd name="T61" fmla="*/ 38 h 200"/>
                <a:gd name="T62" fmla="*/ 8 w 78"/>
                <a:gd name="T63" fmla="*/ 46 h 200"/>
                <a:gd name="T64" fmla="*/ 10 w 78"/>
                <a:gd name="T65" fmla="*/ 62 h 200"/>
                <a:gd name="T66" fmla="*/ 11 w 78"/>
                <a:gd name="T67" fmla="*/ 71 h 200"/>
                <a:gd name="T68" fmla="*/ 12 w 78"/>
                <a:gd name="T69" fmla="*/ 75 h 200"/>
                <a:gd name="T70" fmla="*/ 13 w 78"/>
                <a:gd name="T71" fmla="*/ 79 h 200"/>
                <a:gd name="T72" fmla="*/ 15 w 78"/>
                <a:gd name="T73" fmla="*/ 88 h 200"/>
                <a:gd name="T74" fmla="*/ 18 w 78"/>
                <a:gd name="T75" fmla="*/ 96 h 200"/>
                <a:gd name="T76" fmla="*/ 21 w 78"/>
                <a:gd name="T77" fmla="*/ 105 h 200"/>
                <a:gd name="T78" fmla="*/ 23 w 78"/>
                <a:gd name="T79" fmla="*/ 109 h 200"/>
                <a:gd name="T80" fmla="*/ 25 w 78"/>
                <a:gd name="T81" fmla="*/ 113 h 200"/>
                <a:gd name="T82" fmla="*/ 29 w 78"/>
                <a:gd name="T83" fmla="*/ 120 h 200"/>
                <a:gd name="T84" fmla="*/ 33 w 78"/>
                <a:gd name="T85" fmla="*/ 128 h 200"/>
                <a:gd name="T86" fmla="*/ 37 w 78"/>
                <a:gd name="T87" fmla="*/ 135 h 200"/>
                <a:gd name="T88" fmla="*/ 42 w 78"/>
                <a:gd name="T89" fmla="*/ 141 h 200"/>
                <a:gd name="T90" fmla="*/ 50 w 78"/>
                <a:gd name="T91" fmla="*/ 152 h 200"/>
                <a:gd name="T92" fmla="*/ 54 w 78"/>
                <a:gd name="T93" fmla="*/ 157 h 200"/>
                <a:gd name="T94" fmla="*/ 58 w 78"/>
                <a:gd name="T95" fmla="*/ 161 h 200"/>
                <a:gd name="T96" fmla="*/ 62 w 78"/>
                <a:gd name="T97" fmla="*/ 164 h 200"/>
                <a:gd name="T98" fmla="*/ 65 w 78"/>
                <a:gd name="T99" fmla="*/ 167 h 200"/>
                <a:gd name="T100" fmla="*/ 71 w 78"/>
                <a:gd name="T101" fmla="*/ 173 h 200"/>
                <a:gd name="T102" fmla="*/ 72 w 78"/>
                <a:gd name="T103" fmla="*/ 194 h 200"/>
                <a:gd name="T104" fmla="*/ 51 w 78"/>
                <a:gd name="T105" fmla="*/ 195 h 200"/>
                <a:gd name="T106" fmla="*/ 50 w 78"/>
                <a:gd name="T107" fmla="*/ 19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8" h="200">
                  <a:moveTo>
                    <a:pt x="50" y="193"/>
                  </a:moveTo>
                  <a:cubicBezTo>
                    <a:pt x="50" y="193"/>
                    <a:pt x="48" y="191"/>
                    <a:pt x="44" y="187"/>
                  </a:cubicBezTo>
                  <a:cubicBezTo>
                    <a:pt x="43" y="185"/>
                    <a:pt x="42" y="184"/>
                    <a:pt x="41" y="183"/>
                  </a:cubicBezTo>
                  <a:cubicBezTo>
                    <a:pt x="40" y="181"/>
                    <a:pt x="39" y="180"/>
                    <a:pt x="38" y="178"/>
                  </a:cubicBezTo>
                  <a:cubicBezTo>
                    <a:pt x="37" y="177"/>
                    <a:pt x="35" y="175"/>
                    <a:pt x="34" y="173"/>
                  </a:cubicBezTo>
                  <a:cubicBezTo>
                    <a:pt x="33" y="171"/>
                    <a:pt x="31" y="169"/>
                    <a:pt x="30" y="167"/>
                  </a:cubicBezTo>
                  <a:cubicBezTo>
                    <a:pt x="27" y="163"/>
                    <a:pt x="25" y="158"/>
                    <a:pt x="22" y="153"/>
                  </a:cubicBezTo>
                  <a:cubicBezTo>
                    <a:pt x="21" y="150"/>
                    <a:pt x="20" y="148"/>
                    <a:pt x="18" y="145"/>
                  </a:cubicBezTo>
                  <a:cubicBezTo>
                    <a:pt x="17" y="142"/>
                    <a:pt x="16" y="140"/>
                    <a:pt x="15" y="137"/>
                  </a:cubicBezTo>
                  <a:cubicBezTo>
                    <a:pt x="14" y="134"/>
                    <a:pt x="13" y="131"/>
                    <a:pt x="11" y="128"/>
                  </a:cubicBezTo>
                  <a:cubicBezTo>
                    <a:pt x="10" y="125"/>
                    <a:pt x="10" y="122"/>
                    <a:pt x="9" y="119"/>
                  </a:cubicBezTo>
                  <a:cubicBezTo>
                    <a:pt x="7" y="114"/>
                    <a:pt x="7" y="114"/>
                    <a:pt x="7" y="114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5" y="106"/>
                    <a:pt x="4" y="103"/>
                    <a:pt x="4" y="100"/>
                  </a:cubicBezTo>
                  <a:cubicBezTo>
                    <a:pt x="3" y="97"/>
                    <a:pt x="3" y="94"/>
                    <a:pt x="2" y="91"/>
                  </a:cubicBezTo>
                  <a:cubicBezTo>
                    <a:pt x="2" y="87"/>
                    <a:pt x="2" y="84"/>
                    <a:pt x="1" y="81"/>
                  </a:cubicBezTo>
                  <a:cubicBezTo>
                    <a:pt x="1" y="80"/>
                    <a:pt x="1" y="78"/>
                    <a:pt x="1" y="76"/>
                  </a:cubicBezTo>
                  <a:cubicBezTo>
                    <a:pt x="1" y="75"/>
                    <a:pt x="1" y="73"/>
                    <a:pt x="1" y="72"/>
                  </a:cubicBezTo>
                  <a:cubicBezTo>
                    <a:pt x="1" y="69"/>
                    <a:pt x="0" y="66"/>
                    <a:pt x="0" y="63"/>
                  </a:cubicBezTo>
                  <a:cubicBezTo>
                    <a:pt x="1" y="57"/>
                    <a:pt x="1" y="51"/>
                    <a:pt x="1" y="46"/>
                  </a:cubicBezTo>
                  <a:cubicBezTo>
                    <a:pt x="2" y="43"/>
                    <a:pt x="2" y="40"/>
                    <a:pt x="2" y="38"/>
                  </a:cubicBezTo>
                  <a:cubicBezTo>
                    <a:pt x="3" y="35"/>
                    <a:pt x="3" y="33"/>
                    <a:pt x="3" y="30"/>
                  </a:cubicBezTo>
                  <a:cubicBezTo>
                    <a:pt x="4" y="26"/>
                    <a:pt x="5" y="22"/>
                    <a:pt x="6" y="18"/>
                  </a:cubicBezTo>
                  <a:cubicBezTo>
                    <a:pt x="6" y="16"/>
                    <a:pt x="7" y="14"/>
                    <a:pt x="7" y="13"/>
                  </a:cubicBezTo>
                  <a:cubicBezTo>
                    <a:pt x="8" y="11"/>
                    <a:pt x="8" y="10"/>
                    <a:pt x="9" y="8"/>
                  </a:cubicBezTo>
                  <a:cubicBezTo>
                    <a:pt x="10" y="3"/>
                    <a:pt x="11" y="0"/>
                    <a:pt x="11" y="0"/>
                  </a:cubicBezTo>
                  <a:cubicBezTo>
                    <a:pt x="11" y="0"/>
                    <a:pt x="11" y="3"/>
                    <a:pt x="10" y="9"/>
                  </a:cubicBezTo>
                  <a:cubicBezTo>
                    <a:pt x="10" y="10"/>
                    <a:pt x="9" y="11"/>
                    <a:pt x="9" y="13"/>
                  </a:cubicBezTo>
                  <a:cubicBezTo>
                    <a:pt x="9" y="15"/>
                    <a:pt x="9" y="16"/>
                    <a:pt x="9" y="18"/>
                  </a:cubicBezTo>
                  <a:cubicBezTo>
                    <a:pt x="8" y="22"/>
                    <a:pt x="8" y="26"/>
                    <a:pt x="8" y="31"/>
                  </a:cubicBezTo>
                  <a:cubicBezTo>
                    <a:pt x="8" y="33"/>
                    <a:pt x="8" y="36"/>
                    <a:pt x="8" y="38"/>
                  </a:cubicBezTo>
                  <a:cubicBezTo>
                    <a:pt x="8" y="41"/>
                    <a:pt x="8" y="43"/>
                    <a:pt x="8" y="46"/>
                  </a:cubicBezTo>
                  <a:cubicBezTo>
                    <a:pt x="8" y="51"/>
                    <a:pt x="9" y="56"/>
                    <a:pt x="10" y="62"/>
                  </a:cubicBezTo>
                  <a:cubicBezTo>
                    <a:pt x="10" y="65"/>
                    <a:pt x="11" y="68"/>
                    <a:pt x="11" y="71"/>
                  </a:cubicBezTo>
                  <a:cubicBezTo>
                    <a:pt x="11" y="72"/>
                    <a:pt x="12" y="73"/>
                    <a:pt x="12" y="75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4" y="82"/>
                    <a:pt x="14" y="85"/>
                    <a:pt x="15" y="88"/>
                  </a:cubicBezTo>
                  <a:cubicBezTo>
                    <a:pt x="16" y="91"/>
                    <a:pt x="17" y="93"/>
                    <a:pt x="18" y="96"/>
                  </a:cubicBezTo>
                  <a:cubicBezTo>
                    <a:pt x="19" y="99"/>
                    <a:pt x="20" y="102"/>
                    <a:pt x="21" y="105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6" y="115"/>
                    <a:pt x="27" y="118"/>
                    <a:pt x="29" y="120"/>
                  </a:cubicBezTo>
                  <a:cubicBezTo>
                    <a:pt x="30" y="123"/>
                    <a:pt x="32" y="125"/>
                    <a:pt x="33" y="128"/>
                  </a:cubicBezTo>
                  <a:cubicBezTo>
                    <a:pt x="34" y="130"/>
                    <a:pt x="36" y="132"/>
                    <a:pt x="37" y="135"/>
                  </a:cubicBezTo>
                  <a:cubicBezTo>
                    <a:pt x="39" y="137"/>
                    <a:pt x="40" y="139"/>
                    <a:pt x="42" y="141"/>
                  </a:cubicBezTo>
                  <a:cubicBezTo>
                    <a:pt x="45" y="145"/>
                    <a:pt x="47" y="149"/>
                    <a:pt x="50" y="152"/>
                  </a:cubicBezTo>
                  <a:cubicBezTo>
                    <a:pt x="52" y="154"/>
                    <a:pt x="53" y="155"/>
                    <a:pt x="54" y="157"/>
                  </a:cubicBezTo>
                  <a:cubicBezTo>
                    <a:pt x="56" y="158"/>
                    <a:pt x="57" y="159"/>
                    <a:pt x="58" y="161"/>
                  </a:cubicBezTo>
                  <a:cubicBezTo>
                    <a:pt x="59" y="162"/>
                    <a:pt x="61" y="163"/>
                    <a:pt x="62" y="164"/>
                  </a:cubicBezTo>
                  <a:cubicBezTo>
                    <a:pt x="63" y="165"/>
                    <a:pt x="64" y="166"/>
                    <a:pt x="65" y="167"/>
                  </a:cubicBezTo>
                  <a:cubicBezTo>
                    <a:pt x="69" y="171"/>
                    <a:pt x="71" y="173"/>
                    <a:pt x="71" y="173"/>
                  </a:cubicBezTo>
                  <a:cubicBezTo>
                    <a:pt x="77" y="178"/>
                    <a:pt x="78" y="188"/>
                    <a:pt x="72" y="194"/>
                  </a:cubicBezTo>
                  <a:cubicBezTo>
                    <a:pt x="67" y="200"/>
                    <a:pt x="57" y="200"/>
                    <a:pt x="51" y="195"/>
                  </a:cubicBezTo>
                  <a:cubicBezTo>
                    <a:pt x="51" y="194"/>
                    <a:pt x="50" y="194"/>
                    <a:pt x="50" y="193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81" name="îṣ1iḋè">
              <a:extLst>
                <a:ext uri="{FF2B5EF4-FFF2-40B4-BE49-F238E27FC236}">
                  <a16:creationId xmlns:a16="http://schemas.microsoft.com/office/drawing/2014/main" id="{E2EE2B9D-3D9C-461A-80EB-69AAA467FC4D}"/>
                </a:ext>
              </a:extLst>
            </p:cNvPr>
            <p:cNvSpPr/>
            <p:nvPr/>
          </p:nvSpPr>
          <p:spPr bwMode="auto">
            <a:xfrm>
              <a:off x="6092018" y="5227182"/>
              <a:ext cx="115690" cy="103214"/>
            </a:xfrm>
            <a:custGeom>
              <a:avLst/>
              <a:gdLst>
                <a:gd name="T0" fmla="*/ 54 w 102"/>
                <a:gd name="T1" fmla="*/ 0 h 91"/>
                <a:gd name="T2" fmla="*/ 102 w 102"/>
                <a:gd name="T3" fmla="*/ 91 h 91"/>
                <a:gd name="T4" fmla="*/ 0 w 102"/>
                <a:gd name="T5" fmla="*/ 87 h 91"/>
                <a:gd name="T6" fmla="*/ 54 w 102"/>
                <a:gd name="T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91">
                  <a:moveTo>
                    <a:pt x="54" y="0"/>
                  </a:moveTo>
                  <a:lnTo>
                    <a:pt x="102" y="91"/>
                  </a:lnTo>
                  <a:lnTo>
                    <a:pt x="0" y="87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82" name="ís1íḍé">
              <a:extLst>
                <a:ext uri="{FF2B5EF4-FFF2-40B4-BE49-F238E27FC236}">
                  <a16:creationId xmlns:a16="http://schemas.microsoft.com/office/drawing/2014/main" id="{C0E96397-8982-4186-A87F-8E6121FFCA92}"/>
                </a:ext>
              </a:extLst>
            </p:cNvPr>
            <p:cNvSpPr/>
            <p:nvPr/>
          </p:nvSpPr>
          <p:spPr bwMode="auto">
            <a:xfrm>
              <a:off x="7059499" y="2110367"/>
              <a:ext cx="85066" cy="193950"/>
            </a:xfrm>
            <a:custGeom>
              <a:avLst/>
              <a:gdLst>
                <a:gd name="T0" fmla="*/ 4 w 96"/>
                <a:gd name="T1" fmla="*/ 0 h 220"/>
                <a:gd name="T2" fmla="*/ 12 w 96"/>
                <a:gd name="T3" fmla="*/ 5 h 220"/>
                <a:gd name="T4" fmla="*/ 16 w 96"/>
                <a:gd name="T5" fmla="*/ 8 h 220"/>
                <a:gd name="T6" fmla="*/ 21 w 96"/>
                <a:gd name="T7" fmla="*/ 11 h 220"/>
                <a:gd name="T8" fmla="*/ 32 w 96"/>
                <a:gd name="T9" fmla="*/ 21 h 220"/>
                <a:gd name="T10" fmla="*/ 38 w 96"/>
                <a:gd name="T11" fmla="*/ 26 h 220"/>
                <a:gd name="T12" fmla="*/ 44 w 96"/>
                <a:gd name="T13" fmla="*/ 33 h 220"/>
                <a:gd name="T14" fmla="*/ 57 w 96"/>
                <a:gd name="T15" fmla="*/ 48 h 220"/>
                <a:gd name="T16" fmla="*/ 63 w 96"/>
                <a:gd name="T17" fmla="*/ 56 h 220"/>
                <a:gd name="T18" fmla="*/ 66 w 96"/>
                <a:gd name="T19" fmla="*/ 61 h 220"/>
                <a:gd name="T20" fmla="*/ 68 w 96"/>
                <a:gd name="T21" fmla="*/ 65 h 220"/>
                <a:gd name="T22" fmla="*/ 74 w 96"/>
                <a:gd name="T23" fmla="*/ 75 h 220"/>
                <a:gd name="T24" fmla="*/ 78 w 96"/>
                <a:gd name="T25" fmla="*/ 85 h 220"/>
                <a:gd name="T26" fmla="*/ 82 w 96"/>
                <a:gd name="T27" fmla="*/ 95 h 220"/>
                <a:gd name="T28" fmla="*/ 84 w 96"/>
                <a:gd name="T29" fmla="*/ 100 h 220"/>
                <a:gd name="T30" fmla="*/ 86 w 96"/>
                <a:gd name="T31" fmla="*/ 105 h 220"/>
                <a:gd name="T32" fmla="*/ 89 w 96"/>
                <a:gd name="T33" fmla="*/ 116 h 220"/>
                <a:gd name="T34" fmla="*/ 91 w 96"/>
                <a:gd name="T35" fmla="*/ 126 h 220"/>
                <a:gd name="T36" fmla="*/ 93 w 96"/>
                <a:gd name="T37" fmla="*/ 136 h 220"/>
                <a:gd name="T38" fmla="*/ 94 w 96"/>
                <a:gd name="T39" fmla="*/ 146 h 220"/>
                <a:gd name="T40" fmla="*/ 95 w 96"/>
                <a:gd name="T41" fmla="*/ 156 h 220"/>
                <a:gd name="T42" fmla="*/ 96 w 96"/>
                <a:gd name="T43" fmla="*/ 164 h 220"/>
                <a:gd name="T44" fmla="*/ 96 w 96"/>
                <a:gd name="T45" fmla="*/ 173 h 220"/>
                <a:gd name="T46" fmla="*/ 95 w 96"/>
                <a:gd name="T47" fmla="*/ 180 h 220"/>
                <a:gd name="T48" fmla="*/ 93 w 96"/>
                <a:gd name="T49" fmla="*/ 192 h 220"/>
                <a:gd name="T50" fmla="*/ 90 w 96"/>
                <a:gd name="T51" fmla="*/ 202 h 220"/>
                <a:gd name="T52" fmla="*/ 62 w 96"/>
                <a:gd name="T53" fmla="*/ 216 h 220"/>
                <a:gd name="T54" fmla="*/ 47 w 96"/>
                <a:gd name="T55" fmla="*/ 193 h 220"/>
                <a:gd name="T56" fmla="*/ 47 w 96"/>
                <a:gd name="T57" fmla="*/ 191 h 220"/>
                <a:gd name="T58" fmla="*/ 48 w 96"/>
                <a:gd name="T59" fmla="*/ 183 h 220"/>
                <a:gd name="T60" fmla="*/ 49 w 96"/>
                <a:gd name="T61" fmla="*/ 179 h 220"/>
                <a:gd name="T62" fmla="*/ 50 w 96"/>
                <a:gd name="T63" fmla="*/ 174 h 220"/>
                <a:gd name="T64" fmla="*/ 51 w 96"/>
                <a:gd name="T65" fmla="*/ 168 h 220"/>
                <a:gd name="T66" fmla="*/ 52 w 96"/>
                <a:gd name="T67" fmla="*/ 161 h 220"/>
                <a:gd name="T68" fmla="*/ 55 w 96"/>
                <a:gd name="T69" fmla="*/ 147 h 220"/>
                <a:gd name="T70" fmla="*/ 56 w 96"/>
                <a:gd name="T71" fmla="*/ 130 h 220"/>
                <a:gd name="T72" fmla="*/ 55 w 96"/>
                <a:gd name="T73" fmla="*/ 121 h 220"/>
                <a:gd name="T74" fmla="*/ 54 w 96"/>
                <a:gd name="T75" fmla="*/ 112 h 220"/>
                <a:gd name="T76" fmla="*/ 54 w 96"/>
                <a:gd name="T77" fmla="*/ 108 h 220"/>
                <a:gd name="T78" fmla="*/ 53 w 96"/>
                <a:gd name="T79" fmla="*/ 103 h 220"/>
                <a:gd name="T80" fmla="*/ 51 w 96"/>
                <a:gd name="T81" fmla="*/ 94 h 220"/>
                <a:gd name="T82" fmla="*/ 49 w 96"/>
                <a:gd name="T83" fmla="*/ 85 h 220"/>
                <a:gd name="T84" fmla="*/ 46 w 96"/>
                <a:gd name="T85" fmla="*/ 76 h 220"/>
                <a:gd name="T86" fmla="*/ 44 w 96"/>
                <a:gd name="T87" fmla="*/ 71 h 220"/>
                <a:gd name="T88" fmla="*/ 42 w 96"/>
                <a:gd name="T89" fmla="*/ 67 h 220"/>
                <a:gd name="T90" fmla="*/ 39 w 96"/>
                <a:gd name="T91" fmla="*/ 58 h 220"/>
                <a:gd name="T92" fmla="*/ 31 w 96"/>
                <a:gd name="T93" fmla="*/ 43 h 220"/>
                <a:gd name="T94" fmla="*/ 27 w 96"/>
                <a:gd name="T95" fmla="*/ 36 h 220"/>
                <a:gd name="T96" fmla="*/ 22 w 96"/>
                <a:gd name="T97" fmla="*/ 29 h 220"/>
                <a:gd name="T98" fmla="*/ 14 w 96"/>
                <a:gd name="T99" fmla="*/ 19 h 220"/>
                <a:gd name="T100" fmla="*/ 11 w 96"/>
                <a:gd name="T101" fmla="*/ 14 h 220"/>
                <a:gd name="T102" fmla="*/ 7 w 96"/>
                <a:gd name="T103" fmla="*/ 11 h 220"/>
                <a:gd name="T104" fmla="*/ 1 w 96"/>
                <a:gd name="T105" fmla="*/ 4 h 220"/>
                <a:gd name="T106" fmla="*/ 1 w 96"/>
                <a:gd name="T107" fmla="*/ 0 h 220"/>
                <a:gd name="T108" fmla="*/ 4 w 96"/>
                <a:gd name="T109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6" h="220">
                  <a:moveTo>
                    <a:pt x="4" y="0"/>
                  </a:moveTo>
                  <a:cubicBezTo>
                    <a:pt x="4" y="0"/>
                    <a:pt x="7" y="2"/>
                    <a:pt x="12" y="5"/>
                  </a:cubicBezTo>
                  <a:cubicBezTo>
                    <a:pt x="13" y="6"/>
                    <a:pt x="14" y="7"/>
                    <a:pt x="16" y="8"/>
                  </a:cubicBezTo>
                  <a:cubicBezTo>
                    <a:pt x="17" y="9"/>
                    <a:pt x="19" y="10"/>
                    <a:pt x="21" y="11"/>
                  </a:cubicBezTo>
                  <a:cubicBezTo>
                    <a:pt x="24" y="14"/>
                    <a:pt x="28" y="17"/>
                    <a:pt x="32" y="21"/>
                  </a:cubicBezTo>
                  <a:cubicBezTo>
                    <a:pt x="34" y="23"/>
                    <a:pt x="36" y="24"/>
                    <a:pt x="38" y="26"/>
                  </a:cubicBezTo>
                  <a:cubicBezTo>
                    <a:pt x="40" y="28"/>
                    <a:pt x="42" y="31"/>
                    <a:pt x="44" y="33"/>
                  </a:cubicBezTo>
                  <a:cubicBezTo>
                    <a:pt x="49" y="37"/>
                    <a:pt x="52" y="42"/>
                    <a:pt x="57" y="48"/>
                  </a:cubicBezTo>
                  <a:cubicBezTo>
                    <a:pt x="59" y="50"/>
                    <a:pt x="61" y="53"/>
                    <a:pt x="63" y="56"/>
                  </a:cubicBezTo>
                  <a:cubicBezTo>
                    <a:pt x="64" y="58"/>
                    <a:pt x="65" y="59"/>
                    <a:pt x="66" y="61"/>
                  </a:cubicBezTo>
                  <a:cubicBezTo>
                    <a:pt x="67" y="62"/>
                    <a:pt x="67" y="64"/>
                    <a:pt x="68" y="65"/>
                  </a:cubicBezTo>
                  <a:cubicBezTo>
                    <a:pt x="70" y="68"/>
                    <a:pt x="72" y="71"/>
                    <a:pt x="74" y="75"/>
                  </a:cubicBezTo>
                  <a:cubicBezTo>
                    <a:pt x="75" y="78"/>
                    <a:pt x="77" y="81"/>
                    <a:pt x="78" y="85"/>
                  </a:cubicBezTo>
                  <a:cubicBezTo>
                    <a:pt x="80" y="88"/>
                    <a:pt x="81" y="91"/>
                    <a:pt x="82" y="95"/>
                  </a:cubicBezTo>
                  <a:cubicBezTo>
                    <a:pt x="83" y="97"/>
                    <a:pt x="84" y="98"/>
                    <a:pt x="84" y="100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7" y="109"/>
                    <a:pt x="88" y="112"/>
                    <a:pt x="89" y="116"/>
                  </a:cubicBezTo>
                  <a:cubicBezTo>
                    <a:pt x="89" y="119"/>
                    <a:pt x="90" y="123"/>
                    <a:pt x="91" y="126"/>
                  </a:cubicBezTo>
                  <a:cubicBezTo>
                    <a:pt x="92" y="130"/>
                    <a:pt x="92" y="133"/>
                    <a:pt x="93" y="136"/>
                  </a:cubicBezTo>
                  <a:cubicBezTo>
                    <a:pt x="93" y="140"/>
                    <a:pt x="94" y="143"/>
                    <a:pt x="94" y="146"/>
                  </a:cubicBezTo>
                  <a:cubicBezTo>
                    <a:pt x="95" y="149"/>
                    <a:pt x="95" y="153"/>
                    <a:pt x="95" y="156"/>
                  </a:cubicBezTo>
                  <a:cubicBezTo>
                    <a:pt x="96" y="159"/>
                    <a:pt x="96" y="162"/>
                    <a:pt x="96" y="164"/>
                  </a:cubicBezTo>
                  <a:cubicBezTo>
                    <a:pt x="96" y="167"/>
                    <a:pt x="96" y="170"/>
                    <a:pt x="96" y="173"/>
                  </a:cubicBezTo>
                  <a:cubicBezTo>
                    <a:pt x="96" y="175"/>
                    <a:pt x="95" y="178"/>
                    <a:pt x="95" y="180"/>
                  </a:cubicBezTo>
                  <a:cubicBezTo>
                    <a:pt x="95" y="185"/>
                    <a:pt x="94" y="189"/>
                    <a:pt x="93" y="192"/>
                  </a:cubicBezTo>
                  <a:cubicBezTo>
                    <a:pt x="92" y="198"/>
                    <a:pt x="90" y="202"/>
                    <a:pt x="90" y="202"/>
                  </a:cubicBezTo>
                  <a:cubicBezTo>
                    <a:pt x="87" y="214"/>
                    <a:pt x="74" y="220"/>
                    <a:pt x="62" y="216"/>
                  </a:cubicBezTo>
                  <a:cubicBezTo>
                    <a:pt x="52" y="213"/>
                    <a:pt x="46" y="203"/>
                    <a:pt x="47" y="193"/>
                  </a:cubicBezTo>
                  <a:cubicBezTo>
                    <a:pt x="47" y="191"/>
                    <a:pt x="47" y="191"/>
                    <a:pt x="47" y="191"/>
                  </a:cubicBezTo>
                  <a:cubicBezTo>
                    <a:pt x="47" y="191"/>
                    <a:pt x="48" y="188"/>
                    <a:pt x="48" y="183"/>
                  </a:cubicBezTo>
                  <a:cubicBezTo>
                    <a:pt x="49" y="182"/>
                    <a:pt x="49" y="180"/>
                    <a:pt x="49" y="179"/>
                  </a:cubicBezTo>
                  <a:cubicBezTo>
                    <a:pt x="49" y="177"/>
                    <a:pt x="50" y="175"/>
                    <a:pt x="50" y="174"/>
                  </a:cubicBezTo>
                  <a:cubicBezTo>
                    <a:pt x="50" y="172"/>
                    <a:pt x="51" y="170"/>
                    <a:pt x="51" y="168"/>
                  </a:cubicBezTo>
                  <a:cubicBezTo>
                    <a:pt x="52" y="166"/>
                    <a:pt x="52" y="164"/>
                    <a:pt x="52" y="161"/>
                  </a:cubicBezTo>
                  <a:cubicBezTo>
                    <a:pt x="53" y="157"/>
                    <a:pt x="54" y="152"/>
                    <a:pt x="55" y="147"/>
                  </a:cubicBezTo>
                  <a:cubicBezTo>
                    <a:pt x="56" y="142"/>
                    <a:pt x="56" y="136"/>
                    <a:pt x="56" y="130"/>
                  </a:cubicBezTo>
                  <a:cubicBezTo>
                    <a:pt x="56" y="127"/>
                    <a:pt x="55" y="124"/>
                    <a:pt x="55" y="121"/>
                  </a:cubicBezTo>
                  <a:cubicBezTo>
                    <a:pt x="55" y="118"/>
                    <a:pt x="55" y="115"/>
                    <a:pt x="54" y="112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3" y="106"/>
                    <a:pt x="53" y="105"/>
                    <a:pt x="53" y="103"/>
                  </a:cubicBezTo>
                  <a:cubicBezTo>
                    <a:pt x="52" y="100"/>
                    <a:pt x="52" y="97"/>
                    <a:pt x="51" y="94"/>
                  </a:cubicBezTo>
                  <a:cubicBezTo>
                    <a:pt x="50" y="91"/>
                    <a:pt x="49" y="88"/>
                    <a:pt x="49" y="85"/>
                  </a:cubicBezTo>
                  <a:cubicBezTo>
                    <a:pt x="48" y="82"/>
                    <a:pt x="47" y="79"/>
                    <a:pt x="46" y="76"/>
                  </a:cubicBezTo>
                  <a:cubicBezTo>
                    <a:pt x="45" y="74"/>
                    <a:pt x="45" y="73"/>
                    <a:pt x="44" y="71"/>
                  </a:cubicBezTo>
                  <a:cubicBezTo>
                    <a:pt x="44" y="70"/>
                    <a:pt x="43" y="68"/>
                    <a:pt x="42" y="67"/>
                  </a:cubicBezTo>
                  <a:cubicBezTo>
                    <a:pt x="41" y="64"/>
                    <a:pt x="40" y="61"/>
                    <a:pt x="39" y="58"/>
                  </a:cubicBezTo>
                  <a:cubicBezTo>
                    <a:pt x="36" y="53"/>
                    <a:pt x="34" y="48"/>
                    <a:pt x="31" y="43"/>
                  </a:cubicBezTo>
                  <a:cubicBezTo>
                    <a:pt x="29" y="40"/>
                    <a:pt x="28" y="38"/>
                    <a:pt x="27" y="36"/>
                  </a:cubicBezTo>
                  <a:cubicBezTo>
                    <a:pt x="25" y="34"/>
                    <a:pt x="24" y="32"/>
                    <a:pt x="22" y="29"/>
                  </a:cubicBezTo>
                  <a:cubicBezTo>
                    <a:pt x="19" y="25"/>
                    <a:pt x="17" y="22"/>
                    <a:pt x="14" y="19"/>
                  </a:cubicBezTo>
                  <a:cubicBezTo>
                    <a:pt x="13" y="17"/>
                    <a:pt x="12" y="16"/>
                    <a:pt x="11" y="14"/>
                  </a:cubicBezTo>
                  <a:cubicBezTo>
                    <a:pt x="9" y="13"/>
                    <a:pt x="8" y="12"/>
                    <a:pt x="7" y="11"/>
                  </a:cubicBezTo>
                  <a:cubicBezTo>
                    <a:pt x="3" y="6"/>
                    <a:pt x="1" y="4"/>
                    <a:pt x="1" y="4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2" y="0"/>
                    <a:pt x="3" y="0"/>
                    <a:pt x="4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83" name="iṩļíḍè">
              <a:extLst>
                <a:ext uri="{FF2B5EF4-FFF2-40B4-BE49-F238E27FC236}">
                  <a16:creationId xmlns:a16="http://schemas.microsoft.com/office/drawing/2014/main" id="{030D12AA-CF75-486F-AD85-86829D948595}"/>
                </a:ext>
              </a:extLst>
            </p:cNvPr>
            <p:cNvSpPr/>
            <p:nvPr/>
          </p:nvSpPr>
          <p:spPr bwMode="auto">
            <a:xfrm>
              <a:off x="7081049" y="2252143"/>
              <a:ext cx="85066" cy="91871"/>
            </a:xfrm>
            <a:custGeom>
              <a:avLst/>
              <a:gdLst>
                <a:gd name="T0" fmla="*/ 0 w 75"/>
                <a:gd name="T1" fmla="*/ 0 h 81"/>
                <a:gd name="T2" fmla="*/ 8 w 75"/>
                <a:gd name="T3" fmla="*/ 81 h 81"/>
                <a:gd name="T4" fmla="*/ 75 w 75"/>
                <a:gd name="T5" fmla="*/ 33 h 81"/>
                <a:gd name="T6" fmla="*/ 0 w 75"/>
                <a:gd name="T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81">
                  <a:moveTo>
                    <a:pt x="0" y="0"/>
                  </a:moveTo>
                  <a:lnTo>
                    <a:pt x="8" y="81"/>
                  </a:lnTo>
                  <a:lnTo>
                    <a:pt x="75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84" name="iṧļiḋé">
              <a:extLst>
                <a:ext uri="{FF2B5EF4-FFF2-40B4-BE49-F238E27FC236}">
                  <a16:creationId xmlns:a16="http://schemas.microsoft.com/office/drawing/2014/main" id="{2D2915C0-B0A5-421F-83C6-6BBFD96A6089}"/>
                </a:ext>
              </a:extLst>
            </p:cNvPr>
            <p:cNvSpPr/>
            <p:nvPr/>
          </p:nvSpPr>
          <p:spPr bwMode="auto">
            <a:xfrm>
              <a:off x="4887487" y="2431350"/>
              <a:ext cx="318713" cy="317580"/>
            </a:xfrm>
            <a:prstGeom prst="ellipse">
              <a:avLst/>
            </a:prstGeom>
            <a:noFill/>
            <a:ln w="173038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85" name="ïṥ1íḑé">
              <a:extLst>
                <a:ext uri="{FF2B5EF4-FFF2-40B4-BE49-F238E27FC236}">
                  <a16:creationId xmlns:a16="http://schemas.microsoft.com/office/drawing/2014/main" id="{74D89966-19BC-4014-969C-ED3F500DAE76}"/>
                </a:ext>
              </a:extLst>
            </p:cNvPr>
            <p:cNvSpPr/>
            <p:nvPr/>
          </p:nvSpPr>
          <p:spPr bwMode="auto">
            <a:xfrm>
              <a:off x="6314324" y="3219627"/>
              <a:ext cx="366349" cy="366350"/>
            </a:xfrm>
            <a:prstGeom prst="ellipse">
              <a:avLst/>
            </a:prstGeom>
            <a:noFill/>
            <a:ln w="1206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86" name="iṩḷidè">
              <a:extLst>
                <a:ext uri="{FF2B5EF4-FFF2-40B4-BE49-F238E27FC236}">
                  <a16:creationId xmlns:a16="http://schemas.microsoft.com/office/drawing/2014/main" id="{B73CF2B4-2B98-4C23-B340-E82104938651}"/>
                </a:ext>
              </a:extLst>
            </p:cNvPr>
            <p:cNvSpPr/>
            <p:nvPr/>
          </p:nvSpPr>
          <p:spPr bwMode="auto">
            <a:xfrm>
              <a:off x="5628125" y="1283526"/>
              <a:ext cx="1099049" cy="1097918"/>
            </a:xfrm>
            <a:custGeom>
              <a:avLst/>
              <a:gdLst>
                <a:gd name="T0" fmla="*/ 84 w 1243"/>
                <a:gd name="T1" fmla="*/ 773 h 1243"/>
                <a:gd name="T2" fmla="*/ 773 w 1243"/>
                <a:gd name="T3" fmla="*/ 1159 h 1243"/>
                <a:gd name="T4" fmla="*/ 1159 w 1243"/>
                <a:gd name="T5" fmla="*/ 470 h 1243"/>
                <a:gd name="T6" fmla="*/ 470 w 1243"/>
                <a:gd name="T7" fmla="*/ 84 h 1243"/>
                <a:gd name="T8" fmla="*/ 84 w 1243"/>
                <a:gd name="T9" fmla="*/ 773 h 1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3" h="1243">
                  <a:moveTo>
                    <a:pt x="84" y="773"/>
                  </a:moveTo>
                  <a:cubicBezTo>
                    <a:pt x="168" y="1070"/>
                    <a:pt x="477" y="1243"/>
                    <a:pt x="773" y="1159"/>
                  </a:cubicBezTo>
                  <a:cubicBezTo>
                    <a:pt x="1070" y="1075"/>
                    <a:pt x="1243" y="767"/>
                    <a:pt x="1159" y="470"/>
                  </a:cubicBezTo>
                  <a:cubicBezTo>
                    <a:pt x="1075" y="173"/>
                    <a:pt x="767" y="0"/>
                    <a:pt x="470" y="84"/>
                  </a:cubicBezTo>
                  <a:cubicBezTo>
                    <a:pt x="173" y="168"/>
                    <a:pt x="0" y="476"/>
                    <a:pt x="84" y="77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87" name="ïśḷidê">
              <a:extLst>
                <a:ext uri="{FF2B5EF4-FFF2-40B4-BE49-F238E27FC236}">
                  <a16:creationId xmlns:a16="http://schemas.microsoft.com/office/drawing/2014/main" id="{171AD6C9-2719-444C-8C40-96E8D13DFDDA}"/>
                </a:ext>
              </a:extLst>
            </p:cNvPr>
            <p:cNvSpPr/>
            <p:nvPr/>
          </p:nvSpPr>
          <p:spPr bwMode="auto">
            <a:xfrm>
              <a:off x="5786915" y="1442317"/>
              <a:ext cx="781470" cy="780338"/>
            </a:xfrm>
            <a:custGeom>
              <a:avLst/>
              <a:gdLst>
                <a:gd name="T0" fmla="*/ 60 w 883"/>
                <a:gd name="T1" fmla="*/ 549 h 883"/>
                <a:gd name="T2" fmla="*/ 550 w 883"/>
                <a:gd name="T3" fmla="*/ 824 h 883"/>
                <a:gd name="T4" fmla="*/ 824 w 883"/>
                <a:gd name="T5" fmla="*/ 334 h 883"/>
                <a:gd name="T6" fmla="*/ 334 w 883"/>
                <a:gd name="T7" fmla="*/ 60 h 883"/>
                <a:gd name="T8" fmla="*/ 60 w 883"/>
                <a:gd name="T9" fmla="*/ 549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3" h="883">
                  <a:moveTo>
                    <a:pt x="60" y="549"/>
                  </a:moveTo>
                  <a:cubicBezTo>
                    <a:pt x="119" y="760"/>
                    <a:pt x="339" y="883"/>
                    <a:pt x="550" y="824"/>
                  </a:cubicBezTo>
                  <a:cubicBezTo>
                    <a:pt x="761" y="764"/>
                    <a:pt x="883" y="545"/>
                    <a:pt x="824" y="334"/>
                  </a:cubicBezTo>
                  <a:cubicBezTo>
                    <a:pt x="764" y="123"/>
                    <a:pt x="545" y="0"/>
                    <a:pt x="334" y="60"/>
                  </a:cubicBezTo>
                  <a:cubicBezTo>
                    <a:pt x="123" y="119"/>
                    <a:pt x="0" y="338"/>
                    <a:pt x="60" y="5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88" name="îSļidé">
              <a:extLst>
                <a:ext uri="{FF2B5EF4-FFF2-40B4-BE49-F238E27FC236}">
                  <a16:creationId xmlns:a16="http://schemas.microsoft.com/office/drawing/2014/main" id="{6BFA4AFC-F570-41F0-851D-95CDD90C8B09}"/>
                </a:ext>
              </a:extLst>
            </p:cNvPr>
            <p:cNvSpPr/>
            <p:nvPr/>
          </p:nvSpPr>
          <p:spPr bwMode="auto">
            <a:xfrm>
              <a:off x="5587294" y="1706588"/>
              <a:ext cx="170131" cy="156521"/>
            </a:xfrm>
            <a:custGeom>
              <a:avLst/>
              <a:gdLst>
                <a:gd name="T0" fmla="*/ 134 w 150"/>
                <a:gd name="T1" fmla="*/ 138 h 138"/>
                <a:gd name="T2" fmla="*/ 150 w 150"/>
                <a:gd name="T3" fmla="*/ 0 h 138"/>
                <a:gd name="T4" fmla="*/ 7 w 150"/>
                <a:gd name="T5" fmla="*/ 20 h 138"/>
                <a:gd name="T6" fmla="*/ 0 w 150"/>
                <a:gd name="T7" fmla="*/ 87 h 138"/>
                <a:gd name="T8" fmla="*/ 134 w 150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38">
                  <a:moveTo>
                    <a:pt x="134" y="138"/>
                  </a:moveTo>
                  <a:lnTo>
                    <a:pt x="150" y="0"/>
                  </a:lnTo>
                  <a:lnTo>
                    <a:pt x="7" y="20"/>
                  </a:lnTo>
                  <a:lnTo>
                    <a:pt x="0" y="87"/>
                  </a:lnTo>
                  <a:lnTo>
                    <a:pt x="134" y="1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grpSp>
          <p:nvGrpSpPr>
            <p:cNvPr id="189" name="isľiḍe">
              <a:extLst>
                <a:ext uri="{FF2B5EF4-FFF2-40B4-BE49-F238E27FC236}">
                  <a16:creationId xmlns:a16="http://schemas.microsoft.com/office/drawing/2014/main" id="{6B10975A-11CB-4A5A-BD81-041E32CCEA64}"/>
                </a:ext>
              </a:extLst>
            </p:cNvPr>
            <p:cNvGrpSpPr/>
            <p:nvPr/>
          </p:nvGrpSpPr>
          <p:grpSpPr>
            <a:xfrm>
              <a:off x="5597511" y="1242688"/>
              <a:ext cx="1170507" cy="1179578"/>
              <a:chOff x="2689434" y="2085582"/>
              <a:chExt cx="1047121" cy="1055239"/>
            </a:xfrm>
            <a:solidFill>
              <a:schemeClr val="accent4"/>
            </a:solidFill>
          </p:grpSpPr>
          <p:sp>
            <p:nvSpPr>
              <p:cNvPr id="194" name="iṧḷiḓé">
                <a:extLst>
                  <a:ext uri="{FF2B5EF4-FFF2-40B4-BE49-F238E27FC236}">
                    <a16:creationId xmlns:a16="http://schemas.microsoft.com/office/drawing/2014/main" id="{CF554430-297E-4760-B04C-95579918EC9A}"/>
                  </a:ext>
                </a:extLst>
              </p:cNvPr>
              <p:cNvSpPr/>
              <p:nvPr/>
            </p:nvSpPr>
            <p:spPr bwMode="auto">
              <a:xfrm>
                <a:off x="3032387" y="2095729"/>
                <a:ext cx="139007" cy="166403"/>
              </a:xfrm>
              <a:custGeom>
                <a:avLst/>
                <a:gdLst>
                  <a:gd name="T0" fmla="*/ 4 w 137"/>
                  <a:gd name="T1" fmla="*/ 164 h 164"/>
                  <a:gd name="T2" fmla="*/ 137 w 137"/>
                  <a:gd name="T3" fmla="*/ 126 h 164"/>
                  <a:gd name="T4" fmla="*/ 64 w 137"/>
                  <a:gd name="T5" fmla="*/ 0 h 164"/>
                  <a:gd name="T6" fmla="*/ 0 w 137"/>
                  <a:gd name="T7" fmla="*/ 17 h 164"/>
                  <a:gd name="T8" fmla="*/ 4 w 137"/>
                  <a:gd name="T9" fmla="*/ 164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" h="164">
                    <a:moveTo>
                      <a:pt x="4" y="164"/>
                    </a:moveTo>
                    <a:lnTo>
                      <a:pt x="137" y="126"/>
                    </a:lnTo>
                    <a:lnTo>
                      <a:pt x="64" y="0"/>
                    </a:lnTo>
                    <a:lnTo>
                      <a:pt x="0" y="17"/>
                    </a:lnTo>
                    <a:lnTo>
                      <a:pt x="4" y="16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195" name="iṣľíḋé">
                <a:extLst>
                  <a:ext uri="{FF2B5EF4-FFF2-40B4-BE49-F238E27FC236}">
                    <a16:creationId xmlns:a16="http://schemas.microsoft.com/office/drawing/2014/main" id="{E54E5536-8ECE-425B-92B3-2994117691FE}"/>
                  </a:ext>
                </a:extLst>
              </p:cNvPr>
              <p:cNvSpPr/>
              <p:nvPr/>
            </p:nvSpPr>
            <p:spPr bwMode="auto">
              <a:xfrm>
                <a:off x="2689434" y="2649729"/>
                <a:ext cx="167417" cy="139008"/>
              </a:xfrm>
              <a:custGeom>
                <a:avLst/>
                <a:gdLst>
                  <a:gd name="T0" fmla="*/ 127 w 165"/>
                  <a:gd name="T1" fmla="*/ 0 h 137"/>
                  <a:gd name="T2" fmla="*/ 165 w 165"/>
                  <a:gd name="T3" fmla="*/ 134 h 137"/>
                  <a:gd name="T4" fmla="*/ 18 w 165"/>
                  <a:gd name="T5" fmla="*/ 137 h 137"/>
                  <a:gd name="T6" fmla="*/ 0 w 165"/>
                  <a:gd name="T7" fmla="*/ 74 h 137"/>
                  <a:gd name="T8" fmla="*/ 127 w 165"/>
                  <a:gd name="T9" fmla="*/ 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137">
                    <a:moveTo>
                      <a:pt x="127" y="0"/>
                    </a:moveTo>
                    <a:lnTo>
                      <a:pt x="165" y="134"/>
                    </a:lnTo>
                    <a:lnTo>
                      <a:pt x="18" y="137"/>
                    </a:lnTo>
                    <a:lnTo>
                      <a:pt x="0" y="74"/>
                    </a:lnTo>
                    <a:lnTo>
                      <a:pt x="12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196" name="íSľíḍê">
                <a:extLst>
                  <a:ext uri="{FF2B5EF4-FFF2-40B4-BE49-F238E27FC236}">
                    <a16:creationId xmlns:a16="http://schemas.microsoft.com/office/drawing/2014/main" id="{ADC721EB-92A6-48CB-847F-F760B6B8714C}"/>
                  </a:ext>
                </a:extLst>
              </p:cNvPr>
              <p:cNvSpPr/>
              <p:nvPr/>
            </p:nvSpPr>
            <p:spPr bwMode="auto">
              <a:xfrm>
                <a:off x="3245464" y="2963256"/>
                <a:ext cx="139007" cy="168432"/>
              </a:xfrm>
              <a:custGeom>
                <a:avLst/>
                <a:gdLst>
                  <a:gd name="T0" fmla="*/ 133 w 137"/>
                  <a:gd name="T1" fmla="*/ 0 h 166"/>
                  <a:gd name="T2" fmla="*/ 0 w 137"/>
                  <a:gd name="T3" fmla="*/ 39 h 166"/>
                  <a:gd name="T4" fmla="*/ 73 w 137"/>
                  <a:gd name="T5" fmla="*/ 166 h 166"/>
                  <a:gd name="T6" fmla="*/ 137 w 137"/>
                  <a:gd name="T7" fmla="*/ 147 h 166"/>
                  <a:gd name="T8" fmla="*/ 133 w 137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" h="166">
                    <a:moveTo>
                      <a:pt x="133" y="0"/>
                    </a:moveTo>
                    <a:lnTo>
                      <a:pt x="0" y="39"/>
                    </a:lnTo>
                    <a:lnTo>
                      <a:pt x="73" y="166"/>
                    </a:lnTo>
                    <a:lnTo>
                      <a:pt x="137" y="147"/>
                    </a:lnTo>
                    <a:lnTo>
                      <a:pt x="13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197" name="ïşliḑe">
                <a:extLst>
                  <a:ext uri="{FF2B5EF4-FFF2-40B4-BE49-F238E27FC236}">
                    <a16:creationId xmlns:a16="http://schemas.microsoft.com/office/drawing/2014/main" id="{0A228769-0464-4A30-8AF2-3C734505937F}"/>
                  </a:ext>
                </a:extLst>
              </p:cNvPr>
              <p:cNvSpPr/>
              <p:nvPr/>
            </p:nvSpPr>
            <p:spPr bwMode="auto">
              <a:xfrm>
                <a:off x="3560006" y="2437666"/>
                <a:ext cx="167417" cy="139008"/>
              </a:xfrm>
              <a:custGeom>
                <a:avLst/>
                <a:gdLst>
                  <a:gd name="T0" fmla="*/ 38 w 165"/>
                  <a:gd name="T1" fmla="*/ 137 h 137"/>
                  <a:gd name="T2" fmla="*/ 0 w 165"/>
                  <a:gd name="T3" fmla="*/ 4 h 137"/>
                  <a:gd name="T4" fmla="*/ 147 w 165"/>
                  <a:gd name="T5" fmla="*/ 0 h 137"/>
                  <a:gd name="T6" fmla="*/ 165 w 165"/>
                  <a:gd name="T7" fmla="*/ 64 h 137"/>
                  <a:gd name="T8" fmla="*/ 38 w 165"/>
                  <a:gd name="T9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137">
                    <a:moveTo>
                      <a:pt x="38" y="137"/>
                    </a:moveTo>
                    <a:lnTo>
                      <a:pt x="0" y="4"/>
                    </a:lnTo>
                    <a:lnTo>
                      <a:pt x="147" y="0"/>
                    </a:lnTo>
                    <a:lnTo>
                      <a:pt x="165" y="64"/>
                    </a:lnTo>
                    <a:lnTo>
                      <a:pt x="38" y="13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198" name="îšḷïḍe">
                <a:extLst>
                  <a:ext uri="{FF2B5EF4-FFF2-40B4-BE49-F238E27FC236}">
                    <a16:creationId xmlns:a16="http://schemas.microsoft.com/office/drawing/2014/main" id="{03B011DA-A39A-430F-861D-301172981E45}"/>
                  </a:ext>
                </a:extLst>
              </p:cNvPr>
              <p:cNvSpPr/>
              <p:nvPr/>
            </p:nvSpPr>
            <p:spPr bwMode="auto">
              <a:xfrm>
                <a:off x="2732050" y="2327069"/>
                <a:ext cx="173505" cy="159301"/>
              </a:xfrm>
              <a:custGeom>
                <a:avLst/>
                <a:gdLst>
                  <a:gd name="T0" fmla="*/ 103 w 171"/>
                  <a:gd name="T1" fmla="*/ 157 h 157"/>
                  <a:gd name="T2" fmla="*/ 171 w 171"/>
                  <a:gd name="T3" fmla="*/ 36 h 157"/>
                  <a:gd name="T4" fmla="*/ 32 w 171"/>
                  <a:gd name="T5" fmla="*/ 0 h 157"/>
                  <a:gd name="T6" fmla="*/ 0 w 171"/>
                  <a:gd name="T7" fmla="*/ 57 h 157"/>
                  <a:gd name="T8" fmla="*/ 103 w 171"/>
                  <a:gd name="T9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157">
                    <a:moveTo>
                      <a:pt x="103" y="157"/>
                    </a:moveTo>
                    <a:lnTo>
                      <a:pt x="171" y="36"/>
                    </a:lnTo>
                    <a:lnTo>
                      <a:pt x="32" y="0"/>
                    </a:lnTo>
                    <a:lnTo>
                      <a:pt x="0" y="57"/>
                    </a:lnTo>
                    <a:lnTo>
                      <a:pt x="103" y="15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199" name="iṣľîḋê">
                <a:extLst>
                  <a:ext uri="{FF2B5EF4-FFF2-40B4-BE49-F238E27FC236}">
                    <a16:creationId xmlns:a16="http://schemas.microsoft.com/office/drawing/2014/main" id="{DDD4058C-09CB-4FD4-B5A9-DCAD85B03752}"/>
                  </a:ext>
                </a:extLst>
              </p:cNvPr>
              <p:cNvSpPr/>
              <p:nvPr/>
            </p:nvSpPr>
            <p:spPr bwMode="auto">
              <a:xfrm>
                <a:off x="2921789" y="2915568"/>
                <a:ext cx="159300" cy="173506"/>
              </a:xfrm>
              <a:custGeom>
                <a:avLst/>
                <a:gdLst>
                  <a:gd name="T0" fmla="*/ 36 w 157"/>
                  <a:gd name="T1" fmla="*/ 0 h 171"/>
                  <a:gd name="T2" fmla="*/ 157 w 157"/>
                  <a:gd name="T3" fmla="*/ 68 h 171"/>
                  <a:gd name="T4" fmla="*/ 58 w 157"/>
                  <a:gd name="T5" fmla="*/ 171 h 171"/>
                  <a:gd name="T6" fmla="*/ 0 w 157"/>
                  <a:gd name="T7" fmla="*/ 139 h 171"/>
                  <a:gd name="T8" fmla="*/ 36 w 157"/>
                  <a:gd name="T9" fmla="*/ 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71">
                    <a:moveTo>
                      <a:pt x="36" y="0"/>
                    </a:moveTo>
                    <a:lnTo>
                      <a:pt x="157" y="68"/>
                    </a:lnTo>
                    <a:lnTo>
                      <a:pt x="58" y="171"/>
                    </a:lnTo>
                    <a:lnTo>
                      <a:pt x="0" y="139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00" name="ïṧḷiďè">
                <a:extLst>
                  <a:ext uri="{FF2B5EF4-FFF2-40B4-BE49-F238E27FC236}">
                    <a16:creationId xmlns:a16="http://schemas.microsoft.com/office/drawing/2014/main" id="{4CEC9F2D-954B-4CBF-8E57-3940560B97A6}"/>
                  </a:ext>
                </a:extLst>
              </p:cNvPr>
              <p:cNvSpPr/>
              <p:nvPr/>
            </p:nvSpPr>
            <p:spPr bwMode="auto">
              <a:xfrm>
                <a:off x="3511303" y="2741048"/>
                <a:ext cx="174520" cy="159301"/>
              </a:xfrm>
              <a:custGeom>
                <a:avLst/>
                <a:gdLst>
                  <a:gd name="T0" fmla="*/ 68 w 172"/>
                  <a:gd name="T1" fmla="*/ 0 h 157"/>
                  <a:gd name="T2" fmla="*/ 0 w 172"/>
                  <a:gd name="T3" fmla="*/ 121 h 157"/>
                  <a:gd name="T4" fmla="*/ 140 w 172"/>
                  <a:gd name="T5" fmla="*/ 157 h 157"/>
                  <a:gd name="T6" fmla="*/ 172 w 172"/>
                  <a:gd name="T7" fmla="*/ 99 h 157"/>
                  <a:gd name="T8" fmla="*/ 68 w 172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2" h="157">
                    <a:moveTo>
                      <a:pt x="68" y="0"/>
                    </a:moveTo>
                    <a:lnTo>
                      <a:pt x="0" y="121"/>
                    </a:lnTo>
                    <a:lnTo>
                      <a:pt x="140" y="157"/>
                    </a:lnTo>
                    <a:lnTo>
                      <a:pt x="172" y="99"/>
                    </a:lnTo>
                    <a:lnTo>
                      <a:pt x="6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01" name="ïṥ1iďê">
                <a:extLst>
                  <a:ext uri="{FF2B5EF4-FFF2-40B4-BE49-F238E27FC236}">
                    <a16:creationId xmlns:a16="http://schemas.microsoft.com/office/drawing/2014/main" id="{84EE8E95-7792-4CE6-B015-F72F8CCF0F57}"/>
                  </a:ext>
                </a:extLst>
              </p:cNvPr>
              <p:cNvSpPr/>
              <p:nvPr/>
            </p:nvSpPr>
            <p:spPr bwMode="auto">
              <a:xfrm>
                <a:off x="3336783" y="2137329"/>
                <a:ext cx="159300" cy="173506"/>
              </a:xfrm>
              <a:custGeom>
                <a:avLst/>
                <a:gdLst>
                  <a:gd name="T0" fmla="*/ 121 w 157"/>
                  <a:gd name="T1" fmla="*/ 171 h 171"/>
                  <a:gd name="T2" fmla="*/ 0 w 157"/>
                  <a:gd name="T3" fmla="*/ 103 h 171"/>
                  <a:gd name="T4" fmla="*/ 99 w 157"/>
                  <a:gd name="T5" fmla="*/ 0 h 171"/>
                  <a:gd name="T6" fmla="*/ 157 w 157"/>
                  <a:gd name="T7" fmla="*/ 32 h 171"/>
                  <a:gd name="T8" fmla="*/ 121 w 157"/>
                  <a:gd name="T9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71">
                    <a:moveTo>
                      <a:pt x="121" y="171"/>
                    </a:moveTo>
                    <a:lnTo>
                      <a:pt x="0" y="103"/>
                    </a:lnTo>
                    <a:lnTo>
                      <a:pt x="99" y="0"/>
                    </a:lnTo>
                    <a:lnTo>
                      <a:pt x="157" y="32"/>
                    </a:lnTo>
                    <a:lnTo>
                      <a:pt x="121" y="17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02" name="í$ḷîḋe">
                <a:extLst>
                  <a:ext uri="{FF2B5EF4-FFF2-40B4-BE49-F238E27FC236}">
                    <a16:creationId xmlns:a16="http://schemas.microsoft.com/office/drawing/2014/main" id="{CF9A23AC-1DA9-44FD-B9D1-C00199F10082}"/>
                  </a:ext>
                </a:extLst>
              </p:cNvPr>
              <p:cNvSpPr/>
              <p:nvPr/>
            </p:nvSpPr>
            <p:spPr bwMode="auto">
              <a:xfrm>
                <a:off x="2852793" y="2180959"/>
                <a:ext cx="169447" cy="175535"/>
              </a:xfrm>
              <a:custGeom>
                <a:avLst/>
                <a:gdLst>
                  <a:gd name="T0" fmla="*/ 58 w 167"/>
                  <a:gd name="T1" fmla="*/ 173 h 173"/>
                  <a:gd name="T2" fmla="*/ 167 w 167"/>
                  <a:gd name="T3" fmla="*/ 85 h 173"/>
                  <a:gd name="T4" fmla="*/ 51 w 167"/>
                  <a:gd name="T5" fmla="*/ 0 h 173"/>
                  <a:gd name="T6" fmla="*/ 0 w 167"/>
                  <a:gd name="T7" fmla="*/ 41 h 173"/>
                  <a:gd name="T8" fmla="*/ 58 w 167"/>
                  <a:gd name="T9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73">
                    <a:moveTo>
                      <a:pt x="58" y="173"/>
                    </a:moveTo>
                    <a:lnTo>
                      <a:pt x="167" y="85"/>
                    </a:lnTo>
                    <a:lnTo>
                      <a:pt x="51" y="0"/>
                    </a:lnTo>
                    <a:lnTo>
                      <a:pt x="0" y="41"/>
                    </a:lnTo>
                    <a:lnTo>
                      <a:pt x="58" y="17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03" name="íş1ïḑê">
                <a:extLst>
                  <a:ext uri="{FF2B5EF4-FFF2-40B4-BE49-F238E27FC236}">
                    <a16:creationId xmlns:a16="http://schemas.microsoft.com/office/drawing/2014/main" id="{1004A25E-C334-4EDD-A38A-B6847C6E6E10}"/>
                  </a:ext>
                </a:extLst>
              </p:cNvPr>
              <p:cNvSpPr/>
              <p:nvPr/>
            </p:nvSpPr>
            <p:spPr bwMode="auto">
              <a:xfrm>
                <a:off x="2775679" y="2798882"/>
                <a:ext cx="175535" cy="169447"/>
              </a:xfrm>
              <a:custGeom>
                <a:avLst/>
                <a:gdLst>
                  <a:gd name="T0" fmla="*/ 86 w 173"/>
                  <a:gd name="T1" fmla="*/ 0 h 167"/>
                  <a:gd name="T2" fmla="*/ 173 w 173"/>
                  <a:gd name="T3" fmla="*/ 109 h 167"/>
                  <a:gd name="T4" fmla="*/ 41 w 173"/>
                  <a:gd name="T5" fmla="*/ 167 h 167"/>
                  <a:gd name="T6" fmla="*/ 0 w 173"/>
                  <a:gd name="T7" fmla="*/ 116 h 167"/>
                  <a:gd name="T8" fmla="*/ 86 w 173"/>
                  <a:gd name="T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167">
                    <a:moveTo>
                      <a:pt x="86" y="0"/>
                    </a:moveTo>
                    <a:lnTo>
                      <a:pt x="173" y="109"/>
                    </a:lnTo>
                    <a:lnTo>
                      <a:pt x="41" y="167"/>
                    </a:lnTo>
                    <a:lnTo>
                      <a:pt x="0" y="116"/>
                    </a:lnTo>
                    <a:lnTo>
                      <a:pt x="8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04" name="ïṡlídé">
                <a:extLst>
                  <a:ext uri="{FF2B5EF4-FFF2-40B4-BE49-F238E27FC236}">
                    <a16:creationId xmlns:a16="http://schemas.microsoft.com/office/drawing/2014/main" id="{075A0EE7-1952-4752-B285-12F0CCE7AD65}"/>
                  </a:ext>
                </a:extLst>
              </p:cNvPr>
              <p:cNvSpPr/>
              <p:nvPr/>
            </p:nvSpPr>
            <p:spPr bwMode="auto">
              <a:xfrm>
                <a:off x="3394618" y="2870923"/>
                <a:ext cx="169447" cy="174520"/>
              </a:xfrm>
              <a:custGeom>
                <a:avLst/>
                <a:gdLst>
                  <a:gd name="T0" fmla="*/ 109 w 167"/>
                  <a:gd name="T1" fmla="*/ 0 h 172"/>
                  <a:gd name="T2" fmla="*/ 0 w 167"/>
                  <a:gd name="T3" fmla="*/ 87 h 172"/>
                  <a:gd name="T4" fmla="*/ 116 w 167"/>
                  <a:gd name="T5" fmla="*/ 172 h 172"/>
                  <a:gd name="T6" fmla="*/ 167 w 167"/>
                  <a:gd name="T7" fmla="*/ 131 h 172"/>
                  <a:gd name="T8" fmla="*/ 109 w 167"/>
                  <a:gd name="T9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72">
                    <a:moveTo>
                      <a:pt x="109" y="0"/>
                    </a:moveTo>
                    <a:lnTo>
                      <a:pt x="0" y="87"/>
                    </a:lnTo>
                    <a:lnTo>
                      <a:pt x="116" y="172"/>
                    </a:lnTo>
                    <a:lnTo>
                      <a:pt x="167" y="131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05" name="íṧḷîḍé">
                <a:extLst>
                  <a:ext uri="{FF2B5EF4-FFF2-40B4-BE49-F238E27FC236}">
                    <a16:creationId xmlns:a16="http://schemas.microsoft.com/office/drawing/2014/main" id="{2C523453-0023-4117-A590-1955CFA9C8E6}"/>
                  </a:ext>
                </a:extLst>
              </p:cNvPr>
              <p:cNvSpPr/>
              <p:nvPr/>
            </p:nvSpPr>
            <p:spPr bwMode="auto">
              <a:xfrm>
                <a:off x="3466658" y="2258073"/>
                <a:ext cx="175535" cy="169447"/>
              </a:xfrm>
              <a:custGeom>
                <a:avLst/>
                <a:gdLst>
                  <a:gd name="T0" fmla="*/ 87 w 173"/>
                  <a:gd name="T1" fmla="*/ 167 h 167"/>
                  <a:gd name="T2" fmla="*/ 0 w 173"/>
                  <a:gd name="T3" fmla="*/ 58 h 167"/>
                  <a:gd name="T4" fmla="*/ 131 w 173"/>
                  <a:gd name="T5" fmla="*/ 0 h 167"/>
                  <a:gd name="T6" fmla="*/ 173 w 173"/>
                  <a:gd name="T7" fmla="*/ 51 h 167"/>
                  <a:gd name="T8" fmla="*/ 87 w 173"/>
                  <a:gd name="T9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167">
                    <a:moveTo>
                      <a:pt x="87" y="167"/>
                    </a:moveTo>
                    <a:lnTo>
                      <a:pt x="0" y="58"/>
                    </a:lnTo>
                    <a:lnTo>
                      <a:pt x="131" y="0"/>
                    </a:lnTo>
                    <a:lnTo>
                      <a:pt x="173" y="51"/>
                    </a:lnTo>
                    <a:lnTo>
                      <a:pt x="87" y="16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06" name="iŝ1ïde">
                <a:extLst>
                  <a:ext uri="{FF2B5EF4-FFF2-40B4-BE49-F238E27FC236}">
                    <a16:creationId xmlns:a16="http://schemas.microsoft.com/office/drawing/2014/main" id="{3BBE0A16-EFA9-472D-997D-14749F988647}"/>
                  </a:ext>
                </a:extLst>
              </p:cNvPr>
              <p:cNvSpPr/>
              <p:nvPr/>
            </p:nvSpPr>
            <p:spPr bwMode="auto">
              <a:xfrm>
                <a:off x="3095295" y="2988623"/>
                <a:ext cx="141036" cy="152198"/>
              </a:xfrm>
              <a:custGeom>
                <a:avLst/>
                <a:gdLst>
                  <a:gd name="T0" fmla="*/ 0 w 139"/>
                  <a:gd name="T1" fmla="*/ 0 h 150"/>
                  <a:gd name="T2" fmla="*/ 139 w 139"/>
                  <a:gd name="T3" fmla="*/ 16 h 150"/>
                  <a:gd name="T4" fmla="*/ 87 w 139"/>
                  <a:gd name="T5" fmla="*/ 150 h 150"/>
                  <a:gd name="T6" fmla="*/ 21 w 139"/>
                  <a:gd name="T7" fmla="*/ 143 h 150"/>
                  <a:gd name="T8" fmla="*/ 0 w 139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150">
                    <a:moveTo>
                      <a:pt x="0" y="0"/>
                    </a:moveTo>
                    <a:lnTo>
                      <a:pt x="139" y="16"/>
                    </a:lnTo>
                    <a:lnTo>
                      <a:pt x="87" y="150"/>
                    </a:lnTo>
                    <a:lnTo>
                      <a:pt x="21" y="1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07" name="ïṩḻïḑe">
                <a:extLst>
                  <a:ext uri="{FF2B5EF4-FFF2-40B4-BE49-F238E27FC236}">
                    <a16:creationId xmlns:a16="http://schemas.microsoft.com/office/drawing/2014/main" id="{9945C5D2-C01D-48E4-A962-240A75269B0A}"/>
                  </a:ext>
                </a:extLst>
              </p:cNvPr>
              <p:cNvSpPr/>
              <p:nvPr/>
            </p:nvSpPr>
            <p:spPr bwMode="auto">
              <a:xfrm>
                <a:off x="3585372" y="2585805"/>
                <a:ext cx="151183" cy="140022"/>
              </a:xfrm>
              <a:custGeom>
                <a:avLst/>
                <a:gdLst>
                  <a:gd name="T0" fmla="*/ 15 w 149"/>
                  <a:gd name="T1" fmla="*/ 0 h 138"/>
                  <a:gd name="T2" fmla="*/ 0 w 149"/>
                  <a:gd name="T3" fmla="*/ 138 h 138"/>
                  <a:gd name="T4" fmla="*/ 142 w 149"/>
                  <a:gd name="T5" fmla="*/ 118 h 138"/>
                  <a:gd name="T6" fmla="*/ 149 w 149"/>
                  <a:gd name="T7" fmla="*/ 52 h 138"/>
                  <a:gd name="T8" fmla="*/ 15 w 149"/>
                  <a:gd name="T9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138">
                    <a:moveTo>
                      <a:pt x="15" y="0"/>
                    </a:moveTo>
                    <a:lnTo>
                      <a:pt x="0" y="138"/>
                    </a:lnTo>
                    <a:lnTo>
                      <a:pt x="142" y="118"/>
                    </a:lnTo>
                    <a:lnTo>
                      <a:pt x="149" y="52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  <p:sp>
            <p:nvSpPr>
              <p:cNvPr id="208" name="íṣliḋè">
                <a:extLst>
                  <a:ext uri="{FF2B5EF4-FFF2-40B4-BE49-F238E27FC236}">
                    <a16:creationId xmlns:a16="http://schemas.microsoft.com/office/drawing/2014/main" id="{3A173CB8-1DAD-4709-BE5F-61CF49F667DB}"/>
                  </a:ext>
                </a:extLst>
              </p:cNvPr>
              <p:cNvSpPr/>
              <p:nvPr/>
            </p:nvSpPr>
            <p:spPr bwMode="auto">
              <a:xfrm>
                <a:off x="3181541" y="2085582"/>
                <a:ext cx="140022" cy="152198"/>
              </a:xfrm>
              <a:custGeom>
                <a:avLst/>
                <a:gdLst>
                  <a:gd name="T0" fmla="*/ 138 w 138"/>
                  <a:gd name="T1" fmla="*/ 150 h 150"/>
                  <a:gd name="T2" fmla="*/ 0 w 138"/>
                  <a:gd name="T3" fmla="*/ 134 h 150"/>
                  <a:gd name="T4" fmla="*/ 51 w 138"/>
                  <a:gd name="T5" fmla="*/ 0 h 150"/>
                  <a:gd name="T6" fmla="*/ 118 w 138"/>
                  <a:gd name="T7" fmla="*/ 7 h 150"/>
                  <a:gd name="T8" fmla="*/ 138 w 138"/>
                  <a:gd name="T9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150">
                    <a:moveTo>
                      <a:pt x="138" y="150"/>
                    </a:moveTo>
                    <a:lnTo>
                      <a:pt x="0" y="134"/>
                    </a:lnTo>
                    <a:lnTo>
                      <a:pt x="51" y="0"/>
                    </a:lnTo>
                    <a:lnTo>
                      <a:pt x="118" y="7"/>
                    </a:lnTo>
                    <a:lnTo>
                      <a:pt x="138" y="15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 sz="3599">
                  <a:cs typeface="+mn-ea"/>
                  <a:sym typeface="+mn-lt"/>
                </a:endParaRPr>
              </a:p>
            </p:txBody>
          </p:sp>
        </p:grpSp>
        <p:sp>
          <p:nvSpPr>
            <p:cNvPr id="190" name="îs1ïḍé">
              <a:extLst>
                <a:ext uri="{FF2B5EF4-FFF2-40B4-BE49-F238E27FC236}">
                  <a16:creationId xmlns:a16="http://schemas.microsoft.com/office/drawing/2014/main" id="{14C407A9-7D39-4654-8B28-9F68C5349C86}"/>
                </a:ext>
              </a:extLst>
            </p:cNvPr>
            <p:cNvSpPr/>
            <p:nvPr/>
          </p:nvSpPr>
          <p:spPr bwMode="auto">
            <a:xfrm>
              <a:off x="6285966" y="1831351"/>
              <a:ext cx="268807" cy="335727"/>
            </a:xfrm>
            <a:custGeom>
              <a:avLst/>
              <a:gdLst>
                <a:gd name="T0" fmla="*/ 300 w 304"/>
                <a:gd name="T1" fmla="*/ 51 h 380"/>
                <a:gd name="T2" fmla="*/ 295 w 304"/>
                <a:gd name="T3" fmla="*/ 75 h 380"/>
                <a:gd name="T4" fmla="*/ 287 w 304"/>
                <a:gd name="T5" fmla="*/ 107 h 380"/>
                <a:gd name="T6" fmla="*/ 274 w 304"/>
                <a:gd name="T7" fmla="*/ 142 h 380"/>
                <a:gd name="T8" fmla="*/ 260 w 304"/>
                <a:gd name="T9" fmla="*/ 171 h 380"/>
                <a:gd name="T10" fmla="*/ 244 w 304"/>
                <a:gd name="T11" fmla="*/ 199 h 380"/>
                <a:gd name="T12" fmla="*/ 232 w 304"/>
                <a:gd name="T13" fmla="*/ 218 h 380"/>
                <a:gd name="T14" fmla="*/ 218 w 304"/>
                <a:gd name="T15" fmla="*/ 237 h 380"/>
                <a:gd name="T16" fmla="*/ 188 w 304"/>
                <a:gd name="T17" fmla="*/ 272 h 380"/>
                <a:gd name="T18" fmla="*/ 171 w 304"/>
                <a:gd name="T19" fmla="*/ 287 h 380"/>
                <a:gd name="T20" fmla="*/ 155 w 304"/>
                <a:gd name="T21" fmla="*/ 302 h 380"/>
                <a:gd name="T22" fmla="*/ 103 w 304"/>
                <a:gd name="T23" fmla="*/ 338 h 380"/>
                <a:gd name="T24" fmla="*/ 71 w 304"/>
                <a:gd name="T25" fmla="*/ 355 h 380"/>
                <a:gd name="T26" fmla="*/ 60 w 304"/>
                <a:gd name="T27" fmla="*/ 360 h 380"/>
                <a:gd name="T28" fmla="*/ 42 w 304"/>
                <a:gd name="T29" fmla="*/ 367 h 380"/>
                <a:gd name="T30" fmla="*/ 20 w 304"/>
                <a:gd name="T31" fmla="*/ 374 h 380"/>
                <a:gd name="T32" fmla="*/ 19 w 304"/>
                <a:gd name="T33" fmla="*/ 372 h 380"/>
                <a:gd name="T34" fmla="*/ 40 w 304"/>
                <a:gd name="T35" fmla="*/ 362 h 380"/>
                <a:gd name="T36" fmla="*/ 57 w 304"/>
                <a:gd name="T37" fmla="*/ 354 h 380"/>
                <a:gd name="T38" fmla="*/ 67 w 304"/>
                <a:gd name="T39" fmla="*/ 348 h 380"/>
                <a:gd name="T40" fmla="*/ 96 w 304"/>
                <a:gd name="T41" fmla="*/ 328 h 380"/>
                <a:gd name="T42" fmla="*/ 142 w 304"/>
                <a:gd name="T43" fmla="*/ 288 h 380"/>
                <a:gd name="T44" fmla="*/ 156 w 304"/>
                <a:gd name="T45" fmla="*/ 273 h 380"/>
                <a:gd name="T46" fmla="*/ 170 w 304"/>
                <a:gd name="T47" fmla="*/ 256 h 380"/>
                <a:gd name="T48" fmla="*/ 195 w 304"/>
                <a:gd name="T49" fmla="*/ 221 h 380"/>
                <a:gd name="T50" fmla="*/ 206 w 304"/>
                <a:gd name="T51" fmla="*/ 202 h 380"/>
                <a:gd name="T52" fmla="*/ 215 w 304"/>
                <a:gd name="T53" fmla="*/ 184 h 380"/>
                <a:gd name="T54" fmla="*/ 227 w 304"/>
                <a:gd name="T55" fmla="*/ 156 h 380"/>
                <a:gd name="T56" fmla="*/ 236 w 304"/>
                <a:gd name="T57" fmla="*/ 129 h 380"/>
                <a:gd name="T58" fmla="*/ 244 w 304"/>
                <a:gd name="T59" fmla="*/ 95 h 380"/>
                <a:gd name="T60" fmla="*/ 249 w 304"/>
                <a:gd name="T61" fmla="*/ 68 h 380"/>
                <a:gd name="T62" fmla="*/ 251 w 304"/>
                <a:gd name="T63" fmla="*/ 45 h 380"/>
                <a:gd name="T64" fmla="*/ 279 w 304"/>
                <a:gd name="T65" fmla="*/ 0 h 380"/>
                <a:gd name="T66" fmla="*/ 303 w 304"/>
                <a:gd name="T67" fmla="*/ 3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4" h="380">
                  <a:moveTo>
                    <a:pt x="303" y="30"/>
                  </a:moveTo>
                  <a:cubicBezTo>
                    <a:pt x="303" y="30"/>
                    <a:pt x="302" y="38"/>
                    <a:pt x="300" y="51"/>
                  </a:cubicBezTo>
                  <a:cubicBezTo>
                    <a:pt x="300" y="54"/>
                    <a:pt x="299" y="57"/>
                    <a:pt x="298" y="61"/>
                  </a:cubicBezTo>
                  <a:cubicBezTo>
                    <a:pt x="297" y="66"/>
                    <a:pt x="296" y="70"/>
                    <a:pt x="295" y="75"/>
                  </a:cubicBezTo>
                  <a:cubicBezTo>
                    <a:pt x="294" y="80"/>
                    <a:pt x="293" y="85"/>
                    <a:pt x="292" y="90"/>
                  </a:cubicBezTo>
                  <a:cubicBezTo>
                    <a:pt x="290" y="96"/>
                    <a:pt x="288" y="101"/>
                    <a:pt x="287" y="107"/>
                  </a:cubicBezTo>
                  <a:cubicBezTo>
                    <a:pt x="285" y="112"/>
                    <a:pt x="283" y="118"/>
                    <a:pt x="281" y="124"/>
                  </a:cubicBezTo>
                  <a:cubicBezTo>
                    <a:pt x="278" y="130"/>
                    <a:pt x="276" y="136"/>
                    <a:pt x="274" y="142"/>
                  </a:cubicBezTo>
                  <a:cubicBezTo>
                    <a:pt x="271" y="148"/>
                    <a:pt x="268" y="155"/>
                    <a:pt x="265" y="161"/>
                  </a:cubicBezTo>
                  <a:cubicBezTo>
                    <a:pt x="263" y="164"/>
                    <a:pt x="262" y="167"/>
                    <a:pt x="260" y="171"/>
                  </a:cubicBezTo>
                  <a:cubicBezTo>
                    <a:pt x="259" y="174"/>
                    <a:pt x="257" y="177"/>
                    <a:pt x="255" y="180"/>
                  </a:cubicBezTo>
                  <a:cubicBezTo>
                    <a:pt x="252" y="187"/>
                    <a:pt x="248" y="193"/>
                    <a:pt x="244" y="199"/>
                  </a:cubicBezTo>
                  <a:cubicBezTo>
                    <a:pt x="242" y="203"/>
                    <a:pt x="240" y="206"/>
                    <a:pt x="238" y="209"/>
                  </a:cubicBezTo>
                  <a:cubicBezTo>
                    <a:pt x="236" y="212"/>
                    <a:pt x="234" y="215"/>
                    <a:pt x="232" y="218"/>
                  </a:cubicBezTo>
                  <a:cubicBezTo>
                    <a:pt x="230" y="221"/>
                    <a:pt x="227" y="225"/>
                    <a:pt x="225" y="228"/>
                  </a:cubicBezTo>
                  <a:cubicBezTo>
                    <a:pt x="223" y="231"/>
                    <a:pt x="220" y="234"/>
                    <a:pt x="218" y="237"/>
                  </a:cubicBezTo>
                  <a:cubicBezTo>
                    <a:pt x="213" y="243"/>
                    <a:pt x="209" y="249"/>
                    <a:pt x="204" y="255"/>
                  </a:cubicBezTo>
                  <a:cubicBezTo>
                    <a:pt x="198" y="260"/>
                    <a:pt x="193" y="266"/>
                    <a:pt x="188" y="272"/>
                  </a:cubicBezTo>
                  <a:cubicBezTo>
                    <a:pt x="185" y="274"/>
                    <a:pt x="183" y="277"/>
                    <a:pt x="180" y="280"/>
                  </a:cubicBezTo>
                  <a:cubicBezTo>
                    <a:pt x="177" y="282"/>
                    <a:pt x="174" y="285"/>
                    <a:pt x="171" y="287"/>
                  </a:cubicBezTo>
                  <a:cubicBezTo>
                    <a:pt x="169" y="290"/>
                    <a:pt x="166" y="292"/>
                    <a:pt x="163" y="295"/>
                  </a:cubicBezTo>
                  <a:cubicBezTo>
                    <a:pt x="160" y="297"/>
                    <a:pt x="157" y="300"/>
                    <a:pt x="155" y="302"/>
                  </a:cubicBezTo>
                  <a:cubicBezTo>
                    <a:pt x="149" y="307"/>
                    <a:pt x="143" y="311"/>
                    <a:pt x="137" y="315"/>
                  </a:cubicBezTo>
                  <a:cubicBezTo>
                    <a:pt x="126" y="323"/>
                    <a:pt x="115" y="332"/>
                    <a:pt x="103" y="338"/>
                  </a:cubicBezTo>
                  <a:cubicBezTo>
                    <a:pt x="97" y="341"/>
                    <a:pt x="92" y="344"/>
                    <a:pt x="87" y="347"/>
                  </a:cubicBezTo>
                  <a:cubicBezTo>
                    <a:pt x="81" y="350"/>
                    <a:pt x="76" y="352"/>
                    <a:pt x="71" y="355"/>
                  </a:cubicBezTo>
                  <a:cubicBezTo>
                    <a:pt x="68" y="356"/>
                    <a:pt x="66" y="357"/>
                    <a:pt x="63" y="358"/>
                  </a:cubicBezTo>
                  <a:cubicBezTo>
                    <a:pt x="62" y="359"/>
                    <a:pt x="61" y="359"/>
                    <a:pt x="60" y="360"/>
                  </a:cubicBezTo>
                  <a:cubicBezTo>
                    <a:pt x="58" y="360"/>
                    <a:pt x="57" y="361"/>
                    <a:pt x="56" y="361"/>
                  </a:cubicBezTo>
                  <a:cubicBezTo>
                    <a:pt x="51" y="363"/>
                    <a:pt x="47" y="365"/>
                    <a:pt x="42" y="367"/>
                  </a:cubicBezTo>
                  <a:cubicBezTo>
                    <a:pt x="38" y="368"/>
                    <a:pt x="34" y="370"/>
                    <a:pt x="30" y="371"/>
                  </a:cubicBezTo>
                  <a:cubicBezTo>
                    <a:pt x="27" y="372"/>
                    <a:pt x="23" y="373"/>
                    <a:pt x="20" y="374"/>
                  </a:cubicBezTo>
                  <a:cubicBezTo>
                    <a:pt x="7" y="378"/>
                    <a:pt x="0" y="380"/>
                    <a:pt x="0" y="380"/>
                  </a:cubicBezTo>
                  <a:cubicBezTo>
                    <a:pt x="0" y="380"/>
                    <a:pt x="7" y="377"/>
                    <a:pt x="19" y="372"/>
                  </a:cubicBezTo>
                  <a:cubicBezTo>
                    <a:pt x="22" y="371"/>
                    <a:pt x="26" y="370"/>
                    <a:pt x="29" y="368"/>
                  </a:cubicBezTo>
                  <a:cubicBezTo>
                    <a:pt x="33" y="366"/>
                    <a:pt x="36" y="364"/>
                    <a:pt x="40" y="362"/>
                  </a:cubicBezTo>
                  <a:cubicBezTo>
                    <a:pt x="44" y="360"/>
                    <a:pt x="49" y="358"/>
                    <a:pt x="53" y="356"/>
                  </a:cubicBezTo>
                  <a:cubicBezTo>
                    <a:pt x="54" y="355"/>
                    <a:pt x="55" y="354"/>
                    <a:pt x="57" y="354"/>
                  </a:cubicBezTo>
                  <a:cubicBezTo>
                    <a:pt x="58" y="353"/>
                    <a:pt x="59" y="352"/>
                    <a:pt x="60" y="352"/>
                  </a:cubicBezTo>
                  <a:cubicBezTo>
                    <a:pt x="62" y="350"/>
                    <a:pt x="64" y="349"/>
                    <a:pt x="67" y="348"/>
                  </a:cubicBezTo>
                  <a:cubicBezTo>
                    <a:pt x="72" y="345"/>
                    <a:pt x="76" y="342"/>
                    <a:pt x="81" y="338"/>
                  </a:cubicBezTo>
                  <a:cubicBezTo>
                    <a:pt x="86" y="335"/>
                    <a:pt x="91" y="331"/>
                    <a:pt x="96" y="328"/>
                  </a:cubicBezTo>
                  <a:cubicBezTo>
                    <a:pt x="107" y="321"/>
                    <a:pt x="117" y="311"/>
                    <a:pt x="127" y="303"/>
                  </a:cubicBezTo>
                  <a:cubicBezTo>
                    <a:pt x="132" y="298"/>
                    <a:pt x="137" y="293"/>
                    <a:pt x="142" y="288"/>
                  </a:cubicBezTo>
                  <a:cubicBezTo>
                    <a:pt x="144" y="286"/>
                    <a:pt x="147" y="283"/>
                    <a:pt x="149" y="281"/>
                  </a:cubicBezTo>
                  <a:cubicBezTo>
                    <a:pt x="152" y="278"/>
                    <a:pt x="154" y="275"/>
                    <a:pt x="156" y="273"/>
                  </a:cubicBezTo>
                  <a:cubicBezTo>
                    <a:pt x="159" y="270"/>
                    <a:pt x="161" y="267"/>
                    <a:pt x="163" y="264"/>
                  </a:cubicBezTo>
                  <a:cubicBezTo>
                    <a:pt x="166" y="262"/>
                    <a:pt x="168" y="259"/>
                    <a:pt x="170" y="256"/>
                  </a:cubicBezTo>
                  <a:cubicBezTo>
                    <a:pt x="175" y="250"/>
                    <a:pt x="179" y="244"/>
                    <a:pt x="183" y="239"/>
                  </a:cubicBezTo>
                  <a:cubicBezTo>
                    <a:pt x="187" y="233"/>
                    <a:pt x="191" y="227"/>
                    <a:pt x="195" y="221"/>
                  </a:cubicBezTo>
                  <a:cubicBezTo>
                    <a:pt x="197" y="218"/>
                    <a:pt x="199" y="215"/>
                    <a:pt x="200" y="212"/>
                  </a:cubicBezTo>
                  <a:cubicBezTo>
                    <a:pt x="202" y="208"/>
                    <a:pt x="204" y="205"/>
                    <a:pt x="206" y="202"/>
                  </a:cubicBezTo>
                  <a:cubicBezTo>
                    <a:pt x="207" y="199"/>
                    <a:pt x="209" y="196"/>
                    <a:pt x="210" y="193"/>
                  </a:cubicBezTo>
                  <a:cubicBezTo>
                    <a:pt x="212" y="190"/>
                    <a:pt x="214" y="187"/>
                    <a:pt x="215" y="184"/>
                  </a:cubicBezTo>
                  <a:cubicBezTo>
                    <a:pt x="218" y="177"/>
                    <a:pt x="221" y="171"/>
                    <a:pt x="223" y="165"/>
                  </a:cubicBezTo>
                  <a:cubicBezTo>
                    <a:pt x="225" y="162"/>
                    <a:pt x="226" y="159"/>
                    <a:pt x="227" y="156"/>
                  </a:cubicBezTo>
                  <a:cubicBezTo>
                    <a:pt x="228" y="153"/>
                    <a:pt x="229" y="150"/>
                    <a:pt x="230" y="146"/>
                  </a:cubicBezTo>
                  <a:cubicBezTo>
                    <a:pt x="232" y="140"/>
                    <a:pt x="235" y="135"/>
                    <a:pt x="236" y="129"/>
                  </a:cubicBezTo>
                  <a:cubicBezTo>
                    <a:pt x="238" y="123"/>
                    <a:pt x="239" y="117"/>
                    <a:pt x="241" y="112"/>
                  </a:cubicBezTo>
                  <a:cubicBezTo>
                    <a:pt x="242" y="106"/>
                    <a:pt x="243" y="101"/>
                    <a:pt x="244" y="95"/>
                  </a:cubicBezTo>
                  <a:cubicBezTo>
                    <a:pt x="245" y="90"/>
                    <a:pt x="246" y="85"/>
                    <a:pt x="247" y="81"/>
                  </a:cubicBezTo>
                  <a:cubicBezTo>
                    <a:pt x="248" y="76"/>
                    <a:pt x="248" y="72"/>
                    <a:pt x="249" y="68"/>
                  </a:cubicBezTo>
                  <a:cubicBezTo>
                    <a:pt x="249" y="63"/>
                    <a:pt x="250" y="60"/>
                    <a:pt x="250" y="56"/>
                  </a:cubicBezTo>
                  <a:cubicBezTo>
                    <a:pt x="250" y="52"/>
                    <a:pt x="250" y="49"/>
                    <a:pt x="251" y="45"/>
                  </a:cubicBezTo>
                  <a:cubicBezTo>
                    <a:pt x="251" y="32"/>
                    <a:pt x="252" y="25"/>
                    <a:pt x="252" y="25"/>
                  </a:cubicBezTo>
                  <a:cubicBezTo>
                    <a:pt x="252" y="11"/>
                    <a:pt x="265" y="0"/>
                    <a:pt x="279" y="0"/>
                  </a:cubicBezTo>
                  <a:cubicBezTo>
                    <a:pt x="293" y="1"/>
                    <a:pt x="304" y="13"/>
                    <a:pt x="304" y="28"/>
                  </a:cubicBezTo>
                  <a:cubicBezTo>
                    <a:pt x="304" y="29"/>
                    <a:pt x="303" y="29"/>
                    <a:pt x="303" y="3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91" name="iŝľíďe">
              <a:extLst>
                <a:ext uri="{FF2B5EF4-FFF2-40B4-BE49-F238E27FC236}">
                  <a16:creationId xmlns:a16="http://schemas.microsoft.com/office/drawing/2014/main" id="{22217161-1468-4A6D-85B1-5597D97B60A2}"/>
                </a:ext>
              </a:extLst>
            </p:cNvPr>
            <p:cNvSpPr/>
            <p:nvPr/>
          </p:nvSpPr>
          <p:spPr bwMode="auto">
            <a:xfrm>
              <a:off x="6441354" y="1727003"/>
              <a:ext cx="178070" cy="163327"/>
            </a:xfrm>
            <a:custGeom>
              <a:avLst/>
              <a:gdLst>
                <a:gd name="T0" fmla="*/ 0 w 157"/>
                <a:gd name="T1" fmla="*/ 144 h 144"/>
                <a:gd name="T2" fmla="*/ 66 w 157"/>
                <a:gd name="T3" fmla="*/ 0 h 144"/>
                <a:gd name="T4" fmla="*/ 157 w 157"/>
                <a:gd name="T5" fmla="*/ 130 h 144"/>
                <a:gd name="T6" fmla="*/ 0 w 157"/>
                <a:gd name="T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7" h="144">
                  <a:moveTo>
                    <a:pt x="0" y="144"/>
                  </a:moveTo>
                  <a:lnTo>
                    <a:pt x="66" y="0"/>
                  </a:lnTo>
                  <a:lnTo>
                    <a:pt x="157" y="13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92" name="iṣḷiḋé">
              <a:extLst>
                <a:ext uri="{FF2B5EF4-FFF2-40B4-BE49-F238E27FC236}">
                  <a16:creationId xmlns:a16="http://schemas.microsoft.com/office/drawing/2014/main" id="{2ACE1362-E8FB-4628-86EC-48D202DBF696}"/>
                </a:ext>
              </a:extLst>
            </p:cNvPr>
            <p:cNvSpPr/>
            <p:nvPr/>
          </p:nvSpPr>
          <p:spPr bwMode="auto">
            <a:xfrm>
              <a:off x="6071601" y="1727003"/>
              <a:ext cx="215500" cy="214367"/>
            </a:xfrm>
            <a:prstGeom prst="ellipse">
              <a:avLst/>
            </a:prstGeom>
            <a:noFill/>
            <a:ln w="73025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193" name="iṡḷiḓe">
              <a:extLst>
                <a:ext uri="{FF2B5EF4-FFF2-40B4-BE49-F238E27FC236}">
                  <a16:creationId xmlns:a16="http://schemas.microsoft.com/office/drawing/2014/main" id="{9525F41A-D146-4545-8741-E302C9D6E438}"/>
                </a:ext>
              </a:extLst>
            </p:cNvPr>
            <p:cNvSpPr/>
            <p:nvPr/>
          </p:nvSpPr>
          <p:spPr bwMode="auto">
            <a:xfrm>
              <a:off x="5704119" y="4468394"/>
              <a:ext cx="214365" cy="215500"/>
            </a:xfrm>
            <a:prstGeom prst="ellipse">
              <a:avLst/>
            </a:prstGeom>
            <a:noFill/>
            <a:ln w="66675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</p:grpSp>
      <p:grpSp>
        <p:nvGrpSpPr>
          <p:cNvPr id="216" name="组合 215">
            <a:extLst>
              <a:ext uri="{FF2B5EF4-FFF2-40B4-BE49-F238E27FC236}">
                <a16:creationId xmlns:a16="http://schemas.microsoft.com/office/drawing/2014/main" id="{06F84EF6-67A0-4D8D-A11C-9A4D667C0815}"/>
              </a:ext>
            </a:extLst>
          </p:cNvPr>
          <p:cNvGrpSpPr/>
          <p:nvPr userDrawn="1"/>
        </p:nvGrpSpPr>
        <p:grpSpPr>
          <a:xfrm>
            <a:off x="3976717" y="3576135"/>
            <a:ext cx="1302013" cy="2567492"/>
            <a:chOff x="3976717" y="3576135"/>
            <a:chExt cx="1302013" cy="2567492"/>
          </a:xfrm>
        </p:grpSpPr>
        <p:sp>
          <p:nvSpPr>
            <p:cNvPr id="217" name="任意多边形: 形状 216">
              <a:extLst>
                <a:ext uri="{FF2B5EF4-FFF2-40B4-BE49-F238E27FC236}">
                  <a16:creationId xmlns:a16="http://schemas.microsoft.com/office/drawing/2014/main" id="{B7ED7D72-4DBF-4A23-B9AD-94024A8BE883}"/>
                </a:ext>
              </a:extLst>
            </p:cNvPr>
            <p:cNvSpPr/>
            <p:nvPr/>
          </p:nvSpPr>
          <p:spPr bwMode="auto">
            <a:xfrm>
              <a:off x="3976717" y="3636466"/>
              <a:ext cx="1302013" cy="2507161"/>
            </a:xfrm>
            <a:custGeom>
              <a:avLst/>
              <a:gdLst>
                <a:gd name="connsiteX0" fmla="*/ 490545 w 1302013"/>
                <a:gd name="connsiteY0" fmla="*/ 58396 h 2507161"/>
                <a:gd name="connsiteX1" fmla="*/ 727028 w 1302013"/>
                <a:gd name="connsiteY1" fmla="*/ 294879 h 2507161"/>
                <a:gd name="connsiteX2" fmla="*/ 490545 w 1302013"/>
                <a:gd name="connsiteY2" fmla="*/ 531362 h 2507161"/>
                <a:gd name="connsiteX3" fmla="*/ 254062 w 1302013"/>
                <a:gd name="connsiteY3" fmla="*/ 294879 h 2507161"/>
                <a:gd name="connsiteX4" fmla="*/ 490545 w 1302013"/>
                <a:gd name="connsiteY4" fmla="*/ 58396 h 2507161"/>
                <a:gd name="connsiteX5" fmla="*/ 1214453 w 1302013"/>
                <a:gd name="connsiteY5" fmla="*/ 1902 h 2507161"/>
                <a:gd name="connsiteX6" fmla="*/ 1253986 w 1302013"/>
                <a:gd name="connsiteY6" fmla="*/ 17611 h 2507161"/>
                <a:gd name="connsiteX7" fmla="*/ 1284075 w 1302013"/>
                <a:gd name="connsiteY7" fmla="*/ 161613 h 2507161"/>
                <a:gd name="connsiteX8" fmla="*/ 787613 w 1302013"/>
                <a:gd name="connsiteY8" fmla="*/ 934628 h 2507161"/>
                <a:gd name="connsiteX9" fmla="*/ 784958 w 1302013"/>
                <a:gd name="connsiteY9" fmla="*/ 944346 h 2507161"/>
                <a:gd name="connsiteX10" fmla="*/ 784958 w 1302013"/>
                <a:gd name="connsiteY10" fmla="*/ 1610464 h 2507161"/>
                <a:gd name="connsiteX11" fmla="*/ 784958 w 1302013"/>
                <a:gd name="connsiteY11" fmla="*/ 1669655 h 2507161"/>
                <a:gd name="connsiteX12" fmla="*/ 784958 w 1302013"/>
                <a:gd name="connsiteY12" fmla="*/ 2391430 h 2507161"/>
                <a:gd name="connsiteX13" fmla="*/ 664604 w 1302013"/>
                <a:gd name="connsiteY13" fmla="*/ 2507161 h 2507161"/>
                <a:gd name="connsiteX14" fmla="*/ 662834 w 1302013"/>
                <a:gd name="connsiteY14" fmla="*/ 2507161 h 2507161"/>
                <a:gd name="connsiteX15" fmla="*/ 543365 w 1302013"/>
                <a:gd name="connsiteY15" fmla="*/ 2391430 h 2507161"/>
                <a:gd name="connsiteX16" fmla="*/ 543365 w 1302013"/>
                <a:gd name="connsiteY16" fmla="*/ 1686440 h 2507161"/>
                <a:gd name="connsiteX17" fmla="*/ 526550 w 1302013"/>
                <a:gd name="connsiteY17" fmla="*/ 1669655 h 2507161"/>
                <a:gd name="connsiteX18" fmla="*/ 509736 w 1302013"/>
                <a:gd name="connsiteY18" fmla="*/ 1669655 h 2507161"/>
                <a:gd name="connsiteX19" fmla="*/ 492922 w 1302013"/>
                <a:gd name="connsiteY19" fmla="*/ 1686440 h 2507161"/>
                <a:gd name="connsiteX20" fmla="*/ 492922 w 1302013"/>
                <a:gd name="connsiteY20" fmla="*/ 2391430 h 2507161"/>
                <a:gd name="connsiteX21" fmla="*/ 372568 w 1302013"/>
                <a:gd name="connsiteY21" fmla="*/ 2507161 h 2507161"/>
                <a:gd name="connsiteX22" fmla="*/ 370798 w 1302013"/>
                <a:gd name="connsiteY22" fmla="*/ 2507161 h 2507161"/>
                <a:gd name="connsiteX23" fmla="*/ 250443 w 1302013"/>
                <a:gd name="connsiteY23" fmla="*/ 2391430 h 2507161"/>
                <a:gd name="connsiteX24" fmla="*/ 250443 w 1302013"/>
                <a:gd name="connsiteY24" fmla="*/ 1669655 h 2507161"/>
                <a:gd name="connsiteX25" fmla="*/ 250443 w 1302013"/>
                <a:gd name="connsiteY25" fmla="*/ 1610464 h 2507161"/>
                <a:gd name="connsiteX26" fmla="*/ 250443 w 1302013"/>
                <a:gd name="connsiteY26" fmla="*/ 960248 h 2507161"/>
                <a:gd name="connsiteX27" fmla="*/ 232744 w 1302013"/>
                <a:gd name="connsiteY27" fmla="*/ 944346 h 2507161"/>
                <a:gd name="connsiteX28" fmla="*/ 217700 w 1302013"/>
                <a:gd name="connsiteY28" fmla="*/ 960248 h 2507161"/>
                <a:gd name="connsiteX29" fmla="*/ 217700 w 1302013"/>
                <a:gd name="connsiteY29" fmla="*/ 1498266 h 2507161"/>
                <a:gd name="connsiteX30" fmla="*/ 108850 w 1302013"/>
                <a:gd name="connsiteY30" fmla="*/ 1602513 h 2507161"/>
                <a:gd name="connsiteX31" fmla="*/ 0 w 1302013"/>
                <a:gd name="connsiteY31" fmla="*/ 1498266 h 2507161"/>
                <a:gd name="connsiteX32" fmla="*/ 0 w 1302013"/>
                <a:gd name="connsiteY32" fmla="*/ 1019439 h 2507161"/>
                <a:gd name="connsiteX33" fmla="*/ 0 w 1302013"/>
                <a:gd name="connsiteY33" fmla="*/ 890456 h 2507161"/>
                <a:gd name="connsiteX34" fmla="*/ 0 w 1302013"/>
                <a:gd name="connsiteY34" fmla="*/ 636023 h 2507161"/>
                <a:gd name="connsiteX35" fmla="*/ 16814 w 1302013"/>
                <a:gd name="connsiteY35" fmla="*/ 619238 h 2507161"/>
                <a:gd name="connsiteX36" fmla="*/ 738940 w 1302013"/>
                <a:gd name="connsiteY36" fmla="*/ 619238 h 2507161"/>
                <a:gd name="connsiteX37" fmla="*/ 753100 w 1302013"/>
                <a:gd name="connsiteY37" fmla="*/ 611287 h 2507161"/>
                <a:gd name="connsiteX38" fmla="*/ 1105313 w 1302013"/>
                <a:gd name="connsiteY38" fmla="*/ 45881 h 2507161"/>
                <a:gd name="connsiteX39" fmla="*/ 1214453 w 1302013"/>
                <a:gd name="connsiteY39" fmla="*/ 1902 h 250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302013" h="2507161">
                  <a:moveTo>
                    <a:pt x="490545" y="58396"/>
                  </a:moveTo>
                  <a:cubicBezTo>
                    <a:pt x="621151" y="58396"/>
                    <a:pt x="727028" y="164273"/>
                    <a:pt x="727028" y="294879"/>
                  </a:cubicBezTo>
                  <a:cubicBezTo>
                    <a:pt x="727028" y="425485"/>
                    <a:pt x="621151" y="531362"/>
                    <a:pt x="490545" y="531362"/>
                  </a:cubicBezTo>
                  <a:cubicBezTo>
                    <a:pt x="359939" y="531362"/>
                    <a:pt x="254062" y="425485"/>
                    <a:pt x="254062" y="294879"/>
                  </a:cubicBezTo>
                  <a:cubicBezTo>
                    <a:pt x="254062" y="164273"/>
                    <a:pt x="359939" y="58396"/>
                    <a:pt x="490545" y="58396"/>
                  </a:cubicBezTo>
                  <a:close/>
                  <a:moveTo>
                    <a:pt x="1214453" y="1902"/>
                  </a:moveTo>
                  <a:cubicBezTo>
                    <a:pt x="1228156" y="4470"/>
                    <a:pt x="1241597" y="9660"/>
                    <a:pt x="1253986" y="17611"/>
                  </a:cubicBezTo>
                  <a:cubicBezTo>
                    <a:pt x="1303544" y="49415"/>
                    <a:pt x="1316818" y="113907"/>
                    <a:pt x="1284075" y="161613"/>
                  </a:cubicBezTo>
                  <a:cubicBezTo>
                    <a:pt x="787613" y="934628"/>
                    <a:pt x="787613" y="934628"/>
                    <a:pt x="787613" y="934628"/>
                  </a:cubicBezTo>
                  <a:cubicBezTo>
                    <a:pt x="785843" y="937278"/>
                    <a:pt x="784958" y="940812"/>
                    <a:pt x="784958" y="944346"/>
                  </a:cubicBezTo>
                  <a:cubicBezTo>
                    <a:pt x="784958" y="1610464"/>
                    <a:pt x="784958" y="1610464"/>
                    <a:pt x="784958" y="1610464"/>
                  </a:cubicBezTo>
                  <a:cubicBezTo>
                    <a:pt x="784958" y="1669655"/>
                    <a:pt x="784958" y="1669655"/>
                    <a:pt x="784958" y="1669655"/>
                  </a:cubicBezTo>
                  <a:cubicBezTo>
                    <a:pt x="784958" y="2391430"/>
                    <a:pt x="784958" y="2391430"/>
                    <a:pt x="784958" y="2391430"/>
                  </a:cubicBezTo>
                  <a:cubicBezTo>
                    <a:pt x="784958" y="2455038"/>
                    <a:pt x="730976" y="2507161"/>
                    <a:pt x="664604" y="2507161"/>
                  </a:cubicBezTo>
                  <a:cubicBezTo>
                    <a:pt x="662834" y="2507161"/>
                    <a:pt x="662834" y="2507161"/>
                    <a:pt x="662834" y="2507161"/>
                  </a:cubicBezTo>
                  <a:cubicBezTo>
                    <a:pt x="597347" y="2507161"/>
                    <a:pt x="543365" y="2455038"/>
                    <a:pt x="543365" y="2391430"/>
                  </a:cubicBezTo>
                  <a:cubicBezTo>
                    <a:pt x="543365" y="1686440"/>
                    <a:pt x="543365" y="1686440"/>
                    <a:pt x="543365" y="1686440"/>
                  </a:cubicBezTo>
                  <a:cubicBezTo>
                    <a:pt x="543365" y="1676722"/>
                    <a:pt x="535400" y="1669655"/>
                    <a:pt x="526550" y="1669655"/>
                  </a:cubicBezTo>
                  <a:cubicBezTo>
                    <a:pt x="509736" y="1669655"/>
                    <a:pt x="509736" y="1669655"/>
                    <a:pt x="509736" y="1669655"/>
                  </a:cubicBezTo>
                  <a:cubicBezTo>
                    <a:pt x="500002" y="1669655"/>
                    <a:pt x="492922" y="1676722"/>
                    <a:pt x="492922" y="1686440"/>
                  </a:cubicBezTo>
                  <a:cubicBezTo>
                    <a:pt x="492922" y="2391430"/>
                    <a:pt x="492922" y="2391430"/>
                    <a:pt x="492922" y="2391430"/>
                  </a:cubicBezTo>
                  <a:cubicBezTo>
                    <a:pt x="492922" y="2455038"/>
                    <a:pt x="438055" y="2507161"/>
                    <a:pt x="372568" y="2507161"/>
                  </a:cubicBezTo>
                  <a:cubicBezTo>
                    <a:pt x="370798" y="2507161"/>
                    <a:pt x="370798" y="2507161"/>
                    <a:pt x="370798" y="2507161"/>
                  </a:cubicBezTo>
                  <a:cubicBezTo>
                    <a:pt x="304426" y="2507161"/>
                    <a:pt x="250443" y="2455038"/>
                    <a:pt x="250443" y="2391430"/>
                  </a:cubicBezTo>
                  <a:cubicBezTo>
                    <a:pt x="250443" y="1669655"/>
                    <a:pt x="250443" y="1669655"/>
                    <a:pt x="250443" y="1669655"/>
                  </a:cubicBezTo>
                  <a:cubicBezTo>
                    <a:pt x="250443" y="1610464"/>
                    <a:pt x="250443" y="1610464"/>
                    <a:pt x="250443" y="1610464"/>
                  </a:cubicBezTo>
                  <a:cubicBezTo>
                    <a:pt x="250443" y="960248"/>
                    <a:pt x="250443" y="960248"/>
                    <a:pt x="250443" y="960248"/>
                  </a:cubicBezTo>
                  <a:cubicBezTo>
                    <a:pt x="250443" y="950530"/>
                    <a:pt x="242479" y="943462"/>
                    <a:pt x="232744" y="944346"/>
                  </a:cubicBezTo>
                  <a:cubicBezTo>
                    <a:pt x="223895" y="945229"/>
                    <a:pt x="217700" y="952297"/>
                    <a:pt x="217700" y="960248"/>
                  </a:cubicBezTo>
                  <a:cubicBezTo>
                    <a:pt x="217700" y="1498266"/>
                    <a:pt x="217700" y="1498266"/>
                    <a:pt x="217700" y="1498266"/>
                  </a:cubicBezTo>
                  <a:cubicBezTo>
                    <a:pt x="217700" y="1556574"/>
                    <a:pt x="168142" y="1602513"/>
                    <a:pt x="108850" y="1602513"/>
                  </a:cubicBezTo>
                  <a:cubicBezTo>
                    <a:pt x="49558" y="1602513"/>
                    <a:pt x="0" y="1556574"/>
                    <a:pt x="0" y="1498266"/>
                  </a:cubicBezTo>
                  <a:cubicBezTo>
                    <a:pt x="0" y="1019439"/>
                    <a:pt x="0" y="1019439"/>
                    <a:pt x="0" y="1019439"/>
                  </a:cubicBezTo>
                  <a:cubicBezTo>
                    <a:pt x="0" y="890456"/>
                    <a:pt x="0" y="890456"/>
                    <a:pt x="0" y="890456"/>
                  </a:cubicBezTo>
                  <a:cubicBezTo>
                    <a:pt x="0" y="636023"/>
                    <a:pt x="0" y="636023"/>
                    <a:pt x="0" y="636023"/>
                  </a:cubicBezTo>
                  <a:cubicBezTo>
                    <a:pt x="0" y="627189"/>
                    <a:pt x="7965" y="619238"/>
                    <a:pt x="16814" y="619238"/>
                  </a:cubicBezTo>
                  <a:lnTo>
                    <a:pt x="738940" y="619238"/>
                  </a:lnTo>
                  <a:cubicBezTo>
                    <a:pt x="744250" y="619238"/>
                    <a:pt x="749560" y="616587"/>
                    <a:pt x="753100" y="611287"/>
                  </a:cubicBezTo>
                  <a:cubicBezTo>
                    <a:pt x="1105313" y="45881"/>
                    <a:pt x="1105313" y="45881"/>
                    <a:pt x="1105313" y="45881"/>
                  </a:cubicBezTo>
                  <a:cubicBezTo>
                    <a:pt x="1129871" y="10102"/>
                    <a:pt x="1173344" y="-5800"/>
                    <a:pt x="1214453" y="19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218" name="î$ḷiḓè">
              <a:extLst>
                <a:ext uri="{FF2B5EF4-FFF2-40B4-BE49-F238E27FC236}">
                  <a16:creationId xmlns:a16="http://schemas.microsoft.com/office/drawing/2014/main" id="{4747B061-4B82-4237-A757-0223EF49E85A}"/>
                </a:ext>
              </a:extLst>
            </p:cNvPr>
            <p:cNvSpPr/>
            <p:nvPr/>
          </p:nvSpPr>
          <p:spPr bwMode="auto">
            <a:xfrm>
              <a:off x="4166129" y="3576135"/>
              <a:ext cx="629487" cy="331190"/>
            </a:xfrm>
            <a:custGeom>
              <a:avLst/>
              <a:gdLst>
                <a:gd name="T0" fmla="*/ 51 w 711"/>
                <a:gd name="T1" fmla="*/ 375 h 375"/>
                <a:gd name="T2" fmla="*/ 0 w 711"/>
                <a:gd name="T3" fmla="*/ 323 h 375"/>
                <a:gd name="T4" fmla="*/ 21 w 711"/>
                <a:gd name="T5" fmla="*/ 281 h 375"/>
                <a:gd name="T6" fmla="*/ 334 w 711"/>
                <a:gd name="T7" fmla="*/ 0 h 375"/>
                <a:gd name="T8" fmla="*/ 646 w 711"/>
                <a:gd name="T9" fmla="*/ 271 h 375"/>
                <a:gd name="T10" fmla="*/ 660 w 711"/>
                <a:gd name="T11" fmla="*/ 271 h 375"/>
                <a:gd name="T12" fmla="*/ 711 w 711"/>
                <a:gd name="T13" fmla="*/ 323 h 375"/>
                <a:gd name="T14" fmla="*/ 660 w 711"/>
                <a:gd name="T15" fmla="*/ 375 h 375"/>
                <a:gd name="T16" fmla="*/ 51 w 711"/>
                <a:gd name="T17" fmla="*/ 37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1" h="375">
                  <a:moveTo>
                    <a:pt x="51" y="375"/>
                  </a:moveTo>
                  <a:cubicBezTo>
                    <a:pt x="23" y="375"/>
                    <a:pt x="0" y="351"/>
                    <a:pt x="0" y="323"/>
                  </a:cubicBezTo>
                  <a:cubicBezTo>
                    <a:pt x="0" y="306"/>
                    <a:pt x="8" y="291"/>
                    <a:pt x="21" y="281"/>
                  </a:cubicBezTo>
                  <a:cubicBezTo>
                    <a:pt x="41" y="120"/>
                    <a:pt x="172" y="0"/>
                    <a:pt x="334" y="0"/>
                  </a:cubicBezTo>
                  <a:cubicBezTo>
                    <a:pt x="492" y="0"/>
                    <a:pt x="622" y="115"/>
                    <a:pt x="646" y="271"/>
                  </a:cubicBezTo>
                  <a:cubicBezTo>
                    <a:pt x="660" y="271"/>
                    <a:pt x="660" y="271"/>
                    <a:pt x="660" y="271"/>
                  </a:cubicBezTo>
                  <a:cubicBezTo>
                    <a:pt x="688" y="271"/>
                    <a:pt x="711" y="295"/>
                    <a:pt x="711" y="323"/>
                  </a:cubicBezTo>
                  <a:cubicBezTo>
                    <a:pt x="711" y="351"/>
                    <a:pt x="688" y="375"/>
                    <a:pt x="660" y="375"/>
                  </a:cubicBezTo>
                  <a:lnTo>
                    <a:pt x="51" y="375"/>
                  </a:ln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</p:grpSp>
      <p:grpSp>
        <p:nvGrpSpPr>
          <p:cNvPr id="219" name="组合 218">
            <a:extLst>
              <a:ext uri="{FF2B5EF4-FFF2-40B4-BE49-F238E27FC236}">
                <a16:creationId xmlns:a16="http://schemas.microsoft.com/office/drawing/2014/main" id="{DF2157F2-CB39-47E5-AEAD-9554D4A74438}"/>
              </a:ext>
            </a:extLst>
          </p:cNvPr>
          <p:cNvGrpSpPr/>
          <p:nvPr userDrawn="1"/>
        </p:nvGrpSpPr>
        <p:grpSpPr>
          <a:xfrm>
            <a:off x="6686933" y="3698263"/>
            <a:ext cx="1528326" cy="2439691"/>
            <a:chOff x="6686933" y="3698263"/>
            <a:chExt cx="1528326" cy="2439691"/>
          </a:xfrm>
        </p:grpSpPr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01CD1A37-EF4D-45D9-8E5A-243DF5D87A4A}"/>
                </a:ext>
              </a:extLst>
            </p:cNvPr>
            <p:cNvSpPr/>
            <p:nvPr/>
          </p:nvSpPr>
          <p:spPr bwMode="auto">
            <a:xfrm>
              <a:off x="6686933" y="3698263"/>
              <a:ext cx="1528326" cy="2439691"/>
            </a:xfrm>
            <a:custGeom>
              <a:avLst/>
              <a:gdLst>
                <a:gd name="connsiteX0" fmla="*/ 691057 w 1528326"/>
                <a:gd name="connsiteY0" fmla="*/ 548959 h 2439691"/>
                <a:gd name="connsiteX1" fmla="*/ 1517705 w 1528326"/>
                <a:gd name="connsiteY1" fmla="*/ 548959 h 2439691"/>
                <a:gd name="connsiteX2" fmla="*/ 1528326 w 1528326"/>
                <a:gd name="connsiteY2" fmla="*/ 559561 h 2439691"/>
                <a:gd name="connsiteX3" fmla="*/ 1528326 w 1528326"/>
                <a:gd name="connsiteY3" fmla="*/ 821967 h 2439691"/>
                <a:gd name="connsiteX4" fmla="*/ 1528326 w 1528326"/>
                <a:gd name="connsiteY4" fmla="*/ 950961 h 2439691"/>
                <a:gd name="connsiteX5" fmla="*/ 1528326 w 1528326"/>
                <a:gd name="connsiteY5" fmla="*/ 1429828 h 2439691"/>
                <a:gd name="connsiteX6" fmla="*/ 1419464 w 1528326"/>
                <a:gd name="connsiteY6" fmla="*/ 1534084 h 2439691"/>
                <a:gd name="connsiteX7" fmla="*/ 1309716 w 1528326"/>
                <a:gd name="connsiteY7" fmla="*/ 1429828 h 2439691"/>
                <a:gd name="connsiteX8" fmla="*/ 1309716 w 1528326"/>
                <a:gd name="connsiteY8" fmla="*/ 891765 h 2439691"/>
                <a:gd name="connsiteX9" fmla="*/ 1295555 w 1528326"/>
                <a:gd name="connsiteY9" fmla="*/ 875861 h 2439691"/>
                <a:gd name="connsiteX10" fmla="*/ 1277854 w 1528326"/>
                <a:gd name="connsiteY10" fmla="*/ 891765 h 2439691"/>
                <a:gd name="connsiteX11" fmla="*/ 1277854 w 1528326"/>
                <a:gd name="connsiteY11" fmla="*/ 1542035 h 2439691"/>
                <a:gd name="connsiteX12" fmla="*/ 1277854 w 1528326"/>
                <a:gd name="connsiteY12" fmla="*/ 1601231 h 2439691"/>
                <a:gd name="connsiteX13" fmla="*/ 1277854 w 1528326"/>
                <a:gd name="connsiteY13" fmla="*/ 2323067 h 2439691"/>
                <a:gd name="connsiteX14" fmla="*/ 1158370 w 1528326"/>
                <a:gd name="connsiteY14" fmla="*/ 2439691 h 2439691"/>
                <a:gd name="connsiteX15" fmla="*/ 1156600 w 1528326"/>
                <a:gd name="connsiteY15" fmla="*/ 2439691 h 2439691"/>
                <a:gd name="connsiteX16" fmla="*/ 1037117 w 1528326"/>
                <a:gd name="connsiteY16" fmla="*/ 2323067 h 2439691"/>
                <a:gd name="connsiteX17" fmla="*/ 1037117 w 1528326"/>
                <a:gd name="connsiteY17" fmla="*/ 1612717 h 2439691"/>
                <a:gd name="connsiteX18" fmla="*/ 1026496 w 1528326"/>
                <a:gd name="connsiteY18" fmla="*/ 1602115 h 2439691"/>
                <a:gd name="connsiteX19" fmla="*/ 998174 w 1528326"/>
                <a:gd name="connsiteY19" fmla="*/ 1602115 h 2439691"/>
                <a:gd name="connsiteX20" fmla="*/ 986668 w 1528326"/>
                <a:gd name="connsiteY20" fmla="*/ 1612717 h 2439691"/>
                <a:gd name="connsiteX21" fmla="*/ 986668 w 1528326"/>
                <a:gd name="connsiteY21" fmla="*/ 2323067 h 2439691"/>
                <a:gd name="connsiteX22" fmla="*/ 865415 w 1528326"/>
                <a:gd name="connsiteY22" fmla="*/ 2439691 h 2439691"/>
                <a:gd name="connsiteX23" fmla="*/ 864530 w 1528326"/>
                <a:gd name="connsiteY23" fmla="*/ 2439691 h 2439691"/>
                <a:gd name="connsiteX24" fmla="*/ 743276 w 1528326"/>
                <a:gd name="connsiteY24" fmla="*/ 2323067 h 2439691"/>
                <a:gd name="connsiteX25" fmla="*/ 743276 w 1528326"/>
                <a:gd name="connsiteY25" fmla="*/ 1601231 h 2439691"/>
                <a:gd name="connsiteX26" fmla="*/ 743276 w 1528326"/>
                <a:gd name="connsiteY26" fmla="*/ 1542035 h 2439691"/>
                <a:gd name="connsiteX27" fmla="*/ 744161 w 1528326"/>
                <a:gd name="connsiteY27" fmla="*/ 907668 h 2439691"/>
                <a:gd name="connsiteX28" fmla="*/ 725574 w 1528326"/>
                <a:gd name="connsiteY28" fmla="*/ 900600 h 2439691"/>
                <a:gd name="connsiteX29" fmla="*/ 540596 w 1528326"/>
                <a:gd name="connsiteY29" fmla="*/ 1115295 h 2439691"/>
                <a:gd name="connsiteX30" fmla="*/ 127272 w 1528326"/>
                <a:gd name="connsiteY30" fmla="*/ 1264610 h 2439691"/>
                <a:gd name="connsiteX31" fmla="*/ 3364 w 1528326"/>
                <a:gd name="connsiteY31" fmla="*/ 1193045 h 2439691"/>
                <a:gd name="connsiteX32" fmla="*/ 74169 w 1528326"/>
                <a:gd name="connsiteY32" fmla="*/ 1065818 h 2439691"/>
                <a:gd name="connsiteX33" fmla="*/ 388366 w 1528326"/>
                <a:gd name="connsiteY33" fmla="*/ 961563 h 2439691"/>
                <a:gd name="connsiteX34" fmla="*/ 393676 w 1528326"/>
                <a:gd name="connsiteY34" fmla="*/ 958912 h 2439691"/>
                <a:gd name="connsiteX35" fmla="*/ 691057 w 1528326"/>
                <a:gd name="connsiteY35" fmla="*/ 548959 h 2439691"/>
                <a:gd name="connsiteX36" fmla="*/ 1027573 w 1528326"/>
                <a:gd name="connsiteY36" fmla="*/ 0 h 2439691"/>
                <a:gd name="connsiteX37" fmla="*/ 1264056 w 1528326"/>
                <a:gd name="connsiteY37" fmla="*/ 236483 h 2439691"/>
                <a:gd name="connsiteX38" fmla="*/ 1027573 w 1528326"/>
                <a:gd name="connsiteY38" fmla="*/ 472966 h 2439691"/>
                <a:gd name="connsiteX39" fmla="*/ 791090 w 1528326"/>
                <a:gd name="connsiteY39" fmla="*/ 236483 h 2439691"/>
                <a:gd name="connsiteX40" fmla="*/ 1027573 w 1528326"/>
                <a:gd name="connsiteY40" fmla="*/ 0 h 243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528326" h="2439691">
                  <a:moveTo>
                    <a:pt x="691057" y="548959"/>
                  </a:moveTo>
                  <a:cubicBezTo>
                    <a:pt x="691057" y="548959"/>
                    <a:pt x="691057" y="548959"/>
                    <a:pt x="1517705" y="548959"/>
                  </a:cubicBezTo>
                  <a:cubicBezTo>
                    <a:pt x="1523901" y="548959"/>
                    <a:pt x="1528326" y="554260"/>
                    <a:pt x="1528326" y="559561"/>
                  </a:cubicBezTo>
                  <a:cubicBezTo>
                    <a:pt x="1528326" y="559561"/>
                    <a:pt x="1528326" y="559561"/>
                    <a:pt x="1528326" y="821967"/>
                  </a:cubicBezTo>
                  <a:cubicBezTo>
                    <a:pt x="1528326" y="821967"/>
                    <a:pt x="1528326" y="821967"/>
                    <a:pt x="1528326" y="950961"/>
                  </a:cubicBezTo>
                  <a:cubicBezTo>
                    <a:pt x="1528326" y="950961"/>
                    <a:pt x="1528326" y="950961"/>
                    <a:pt x="1528326" y="1429828"/>
                  </a:cubicBezTo>
                  <a:cubicBezTo>
                    <a:pt x="1528326" y="1487257"/>
                    <a:pt x="1478763" y="1534084"/>
                    <a:pt x="1419464" y="1534084"/>
                  </a:cubicBezTo>
                  <a:cubicBezTo>
                    <a:pt x="1360164" y="1534084"/>
                    <a:pt x="1309716" y="1487257"/>
                    <a:pt x="1309716" y="1429828"/>
                  </a:cubicBezTo>
                  <a:cubicBezTo>
                    <a:pt x="1309716" y="1429828"/>
                    <a:pt x="1309716" y="1429828"/>
                    <a:pt x="1309716" y="891765"/>
                  </a:cubicBezTo>
                  <a:cubicBezTo>
                    <a:pt x="1309716" y="883813"/>
                    <a:pt x="1303520" y="875861"/>
                    <a:pt x="1295555" y="875861"/>
                  </a:cubicBezTo>
                  <a:cubicBezTo>
                    <a:pt x="1285819" y="874978"/>
                    <a:pt x="1277854" y="882046"/>
                    <a:pt x="1277854" y="891765"/>
                  </a:cubicBezTo>
                  <a:cubicBezTo>
                    <a:pt x="1277854" y="891765"/>
                    <a:pt x="1277854" y="891765"/>
                    <a:pt x="1277854" y="1542035"/>
                  </a:cubicBezTo>
                  <a:cubicBezTo>
                    <a:pt x="1277854" y="1542035"/>
                    <a:pt x="1277854" y="1542035"/>
                    <a:pt x="1277854" y="1601231"/>
                  </a:cubicBezTo>
                  <a:cubicBezTo>
                    <a:pt x="1277854" y="1601231"/>
                    <a:pt x="1277854" y="1601231"/>
                    <a:pt x="1277854" y="2323067"/>
                  </a:cubicBezTo>
                  <a:cubicBezTo>
                    <a:pt x="1277854" y="2386680"/>
                    <a:pt x="1223865" y="2439691"/>
                    <a:pt x="1158370" y="2439691"/>
                  </a:cubicBezTo>
                  <a:cubicBezTo>
                    <a:pt x="1158370" y="2439691"/>
                    <a:pt x="1158370" y="2439691"/>
                    <a:pt x="1156600" y="2439691"/>
                  </a:cubicBezTo>
                  <a:cubicBezTo>
                    <a:pt x="1090220" y="2439691"/>
                    <a:pt x="1037117" y="2386680"/>
                    <a:pt x="1037117" y="2323067"/>
                  </a:cubicBezTo>
                  <a:cubicBezTo>
                    <a:pt x="1037117" y="2323067"/>
                    <a:pt x="1037117" y="2323067"/>
                    <a:pt x="1037117" y="1612717"/>
                  </a:cubicBezTo>
                  <a:cubicBezTo>
                    <a:pt x="1037117" y="1606532"/>
                    <a:pt x="1032691" y="1602115"/>
                    <a:pt x="1026496" y="1602115"/>
                  </a:cubicBezTo>
                  <a:cubicBezTo>
                    <a:pt x="1026496" y="1602115"/>
                    <a:pt x="1026496" y="1602115"/>
                    <a:pt x="998174" y="1602115"/>
                  </a:cubicBezTo>
                  <a:cubicBezTo>
                    <a:pt x="991979" y="1602115"/>
                    <a:pt x="986668" y="1606532"/>
                    <a:pt x="986668" y="1612717"/>
                  </a:cubicBezTo>
                  <a:cubicBezTo>
                    <a:pt x="986668" y="1612717"/>
                    <a:pt x="986668" y="1612717"/>
                    <a:pt x="986668" y="2323067"/>
                  </a:cubicBezTo>
                  <a:cubicBezTo>
                    <a:pt x="986668" y="2386680"/>
                    <a:pt x="931794" y="2439691"/>
                    <a:pt x="865415" y="2439691"/>
                  </a:cubicBezTo>
                  <a:cubicBezTo>
                    <a:pt x="865415" y="2439691"/>
                    <a:pt x="865415" y="2439691"/>
                    <a:pt x="864530" y="2439691"/>
                  </a:cubicBezTo>
                  <a:cubicBezTo>
                    <a:pt x="798150" y="2439691"/>
                    <a:pt x="743276" y="2386680"/>
                    <a:pt x="743276" y="2323067"/>
                  </a:cubicBezTo>
                  <a:cubicBezTo>
                    <a:pt x="743276" y="2323067"/>
                    <a:pt x="743276" y="2323067"/>
                    <a:pt x="743276" y="1601231"/>
                  </a:cubicBezTo>
                  <a:cubicBezTo>
                    <a:pt x="743276" y="1601231"/>
                    <a:pt x="743276" y="1601231"/>
                    <a:pt x="743276" y="1542035"/>
                  </a:cubicBezTo>
                  <a:cubicBezTo>
                    <a:pt x="743276" y="1542035"/>
                    <a:pt x="743276" y="1542035"/>
                    <a:pt x="744161" y="907668"/>
                  </a:cubicBezTo>
                  <a:cubicBezTo>
                    <a:pt x="744161" y="897949"/>
                    <a:pt x="731770" y="892648"/>
                    <a:pt x="725574" y="900600"/>
                  </a:cubicBezTo>
                  <a:cubicBezTo>
                    <a:pt x="662735" y="969515"/>
                    <a:pt x="540596" y="1114412"/>
                    <a:pt x="540596" y="1115295"/>
                  </a:cubicBezTo>
                  <a:cubicBezTo>
                    <a:pt x="519355" y="1137383"/>
                    <a:pt x="203388" y="1238988"/>
                    <a:pt x="127272" y="1264610"/>
                  </a:cubicBezTo>
                  <a:cubicBezTo>
                    <a:pt x="73284" y="1279630"/>
                    <a:pt x="17525" y="1247823"/>
                    <a:pt x="3364" y="1193045"/>
                  </a:cubicBezTo>
                  <a:cubicBezTo>
                    <a:pt x="-10797" y="1138267"/>
                    <a:pt x="21065" y="1080838"/>
                    <a:pt x="74169" y="1065818"/>
                  </a:cubicBezTo>
                  <a:cubicBezTo>
                    <a:pt x="75054" y="1065818"/>
                    <a:pt x="351193" y="974816"/>
                    <a:pt x="388366" y="961563"/>
                  </a:cubicBezTo>
                  <a:cubicBezTo>
                    <a:pt x="390136" y="961563"/>
                    <a:pt x="391906" y="959796"/>
                    <a:pt x="393676" y="958912"/>
                  </a:cubicBezTo>
                  <a:cubicBezTo>
                    <a:pt x="393676" y="958912"/>
                    <a:pt x="393676" y="958912"/>
                    <a:pt x="691057" y="548959"/>
                  </a:cubicBezTo>
                  <a:close/>
                  <a:moveTo>
                    <a:pt x="1027573" y="0"/>
                  </a:moveTo>
                  <a:cubicBezTo>
                    <a:pt x="1158179" y="0"/>
                    <a:pt x="1264056" y="105877"/>
                    <a:pt x="1264056" y="236483"/>
                  </a:cubicBezTo>
                  <a:cubicBezTo>
                    <a:pt x="1264056" y="367089"/>
                    <a:pt x="1158179" y="472966"/>
                    <a:pt x="1027573" y="472966"/>
                  </a:cubicBezTo>
                  <a:cubicBezTo>
                    <a:pt x="896967" y="472966"/>
                    <a:pt x="791090" y="367089"/>
                    <a:pt x="791090" y="236483"/>
                  </a:cubicBezTo>
                  <a:cubicBezTo>
                    <a:pt x="791090" y="105877"/>
                    <a:pt x="896967" y="0"/>
                    <a:pt x="1027573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12183E0D-F498-468F-BB49-36610D8BEE34}"/>
                </a:ext>
              </a:extLst>
            </p:cNvPr>
            <p:cNvSpPr/>
            <p:nvPr/>
          </p:nvSpPr>
          <p:spPr bwMode="auto">
            <a:xfrm>
              <a:off x="7601188" y="4204069"/>
              <a:ext cx="184205" cy="677933"/>
            </a:xfrm>
            <a:custGeom>
              <a:avLst/>
              <a:gdLst>
                <a:gd name="connsiteX0" fmla="*/ 79574 w 184205"/>
                <a:gd name="connsiteY0" fmla="*/ 6643 h 677933"/>
                <a:gd name="connsiteX1" fmla="*/ 105097 w 184205"/>
                <a:gd name="connsiteY1" fmla="*/ 6643 h 677933"/>
                <a:gd name="connsiteX2" fmla="*/ 165823 w 184205"/>
                <a:gd name="connsiteY2" fmla="*/ 87252 h 677933"/>
                <a:gd name="connsiteX3" fmla="*/ 165823 w 184205"/>
                <a:gd name="connsiteY3" fmla="*/ 122685 h 677933"/>
                <a:gd name="connsiteX4" fmla="*/ 140204 w 184205"/>
                <a:gd name="connsiteY4" fmla="*/ 156318 h 677933"/>
                <a:gd name="connsiteX5" fmla="*/ 120406 w 184205"/>
                <a:gd name="connsiteY5" fmla="*/ 182310 h 677933"/>
                <a:gd name="connsiteX6" fmla="*/ 124210 w 184205"/>
                <a:gd name="connsiteY6" fmla="*/ 204422 h 677933"/>
                <a:gd name="connsiteX7" fmla="*/ 184205 w 184205"/>
                <a:gd name="connsiteY7" fmla="*/ 556143 h 677933"/>
                <a:gd name="connsiteX8" fmla="*/ 182428 w 184205"/>
                <a:gd name="connsiteY8" fmla="*/ 567616 h 677933"/>
                <a:gd name="connsiteX9" fmla="*/ 177983 w 184205"/>
                <a:gd name="connsiteY9" fmla="*/ 577324 h 677933"/>
                <a:gd name="connsiteX10" fmla="*/ 106878 w 184205"/>
                <a:gd name="connsiteY10" fmla="*/ 669991 h 677933"/>
                <a:gd name="connsiteX11" fmla="*/ 76658 w 184205"/>
                <a:gd name="connsiteY11" fmla="*/ 669991 h 677933"/>
                <a:gd name="connsiteX12" fmla="*/ 6441 w 184205"/>
                <a:gd name="connsiteY12" fmla="*/ 577324 h 677933"/>
                <a:gd name="connsiteX13" fmla="*/ 219 w 184205"/>
                <a:gd name="connsiteY13" fmla="*/ 551730 h 677933"/>
                <a:gd name="connsiteX14" fmla="*/ 33994 w 184205"/>
                <a:gd name="connsiteY14" fmla="*/ 367279 h 677933"/>
                <a:gd name="connsiteX15" fmla="*/ 33994 w 184205"/>
                <a:gd name="connsiteY15" fmla="*/ 366396 h 677933"/>
                <a:gd name="connsiteX16" fmla="*/ 59770 w 184205"/>
                <a:gd name="connsiteY16" fmla="*/ 206656 h 677933"/>
                <a:gd name="connsiteX17" fmla="*/ 63845 w 184205"/>
                <a:gd name="connsiteY17" fmla="*/ 181759 h 677933"/>
                <a:gd name="connsiteX18" fmla="*/ 53955 w 184205"/>
                <a:gd name="connsiteY18" fmla="*/ 168775 h 677933"/>
                <a:gd name="connsiteX19" fmla="*/ 18847 w 184205"/>
                <a:gd name="connsiteY19" fmla="*/ 122685 h 677933"/>
                <a:gd name="connsiteX20" fmla="*/ 18847 w 184205"/>
                <a:gd name="connsiteY20" fmla="*/ 87252 h 677933"/>
                <a:gd name="connsiteX21" fmla="*/ 79574 w 184205"/>
                <a:gd name="connsiteY21" fmla="*/ 6643 h 67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4205" h="677933">
                  <a:moveTo>
                    <a:pt x="79574" y="6643"/>
                  </a:moveTo>
                  <a:cubicBezTo>
                    <a:pt x="86615" y="-2215"/>
                    <a:pt x="98056" y="-2215"/>
                    <a:pt x="105097" y="6643"/>
                  </a:cubicBezTo>
                  <a:cubicBezTo>
                    <a:pt x="105097" y="6643"/>
                    <a:pt x="105097" y="6643"/>
                    <a:pt x="165823" y="87252"/>
                  </a:cubicBezTo>
                  <a:cubicBezTo>
                    <a:pt x="172864" y="96996"/>
                    <a:pt x="172864" y="112941"/>
                    <a:pt x="165823" y="122685"/>
                  </a:cubicBezTo>
                  <a:cubicBezTo>
                    <a:pt x="165823" y="122685"/>
                    <a:pt x="165823" y="122685"/>
                    <a:pt x="140204" y="156318"/>
                  </a:cubicBezTo>
                  <a:lnTo>
                    <a:pt x="120406" y="182310"/>
                  </a:lnTo>
                  <a:lnTo>
                    <a:pt x="124210" y="204422"/>
                  </a:lnTo>
                  <a:cubicBezTo>
                    <a:pt x="145208" y="326130"/>
                    <a:pt x="184205" y="550847"/>
                    <a:pt x="184205" y="556143"/>
                  </a:cubicBezTo>
                  <a:cubicBezTo>
                    <a:pt x="184205" y="560555"/>
                    <a:pt x="184205" y="564086"/>
                    <a:pt x="182428" y="567616"/>
                  </a:cubicBezTo>
                  <a:cubicBezTo>
                    <a:pt x="182428" y="569381"/>
                    <a:pt x="179761" y="577324"/>
                    <a:pt x="177983" y="577324"/>
                  </a:cubicBezTo>
                  <a:cubicBezTo>
                    <a:pt x="106878" y="669991"/>
                    <a:pt x="106878" y="669991"/>
                    <a:pt x="106878" y="669991"/>
                  </a:cubicBezTo>
                  <a:cubicBezTo>
                    <a:pt x="98878" y="680581"/>
                    <a:pt x="85546" y="680581"/>
                    <a:pt x="76658" y="669991"/>
                  </a:cubicBezTo>
                  <a:cubicBezTo>
                    <a:pt x="6441" y="577324"/>
                    <a:pt x="6441" y="577324"/>
                    <a:pt x="6441" y="577324"/>
                  </a:cubicBezTo>
                  <a:cubicBezTo>
                    <a:pt x="1108" y="570263"/>
                    <a:pt x="-670" y="560555"/>
                    <a:pt x="219" y="551730"/>
                  </a:cubicBezTo>
                  <a:cubicBezTo>
                    <a:pt x="1108" y="544670"/>
                    <a:pt x="25106" y="421996"/>
                    <a:pt x="33994" y="367279"/>
                  </a:cubicBezTo>
                  <a:cubicBezTo>
                    <a:pt x="33994" y="367279"/>
                    <a:pt x="33994" y="366396"/>
                    <a:pt x="33994" y="366396"/>
                  </a:cubicBezTo>
                  <a:cubicBezTo>
                    <a:pt x="37550" y="343450"/>
                    <a:pt x="55326" y="236662"/>
                    <a:pt x="59770" y="206656"/>
                  </a:cubicBezTo>
                  <a:lnTo>
                    <a:pt x="63845" y="181759"/>
                  </a:lnTo>
                  <a:lnTo>
                    <a:pt x="53955" y="168775"/>
                  </a:lnTo>
                  <a:cubicBezTo>
                    <a:pt x="45415" y="157564"/>
                    <a:pt x="34029" y="142616"/>
                    <a:pt x="18847" y="122685"/>
                  </a:cubicBezTo>
                  <a:cubicBezTo>
                    <a:pt x="11806" y="112941"/>
                    <a:pt x="11806" y="96996"/>
                    <a:pt x="18847" y="87252"/>
                  </a:cubicBezTo>
                  <a:cubicBezTo>
                    <a:pt x="18847" y="87252"/>
                    <a:pt x="18847" y="87252"/>
                    <a:pt x="79574" y="66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3599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95733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3" name="图片占位符 112">
            <a:extLst>
              <a:ext uri="{FF2B5EF4-FFF2-40B4-BE49-F238E27FC236}">
                <a16:creationId xmlns:a16="http://schemas.microsoft.com/office/drawing/2014/main" id="{FDCF1219-66FD-47D0-A338-2CE1AD264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" y="1199638"/>
            <a:ext cx="12191238" cy="4838400"/>
          </a:xfrm>
          <a:custGeom>
            <a:avLst/>
            <a:gdLst>
              <a:gd name="connsiteX0" fmla="*/ 10755219 w 12191238"/>
              <a:gd name="connsiteY0" fmla="*/ 0 h 4838400"/>
              <a:gd name="connsiteX1" fmla="*/ 12191238 w 12191238"/>
              <a:gd name="connsiteY1" fmla="*/ 0 h 4838400"/>
              <a:gd name="connsiteX2" fmla="*/ 12191238 w 12191238"/>
              <a:gd name="connsiteY2" fmla="*/ 4838400 h 4838400"/>
              <a:gd name="connsiteX3" fmla="*/ 10755219 w 12191238"/>
              <a:gd name="connsiteY3" fmla="*/ 4838400 h 4838400"/>
              <a:gd name="connsiteX4" fmla="*/ 6903069 w 12191238"/>
              <a:gd name="connsiteY4" fmla="*/ 0 h 4838400"/>
              <a:gd name="connsiteX5" fmla="*/ 10675869 w 12191238"/>
              <a:gd name="connsiteY5" fmla="*/ 0 h 4838400"/>
              <a:gd name="connsiteX6" fmla="*/ 10675869 w 12191238"/>
              <a:gd name="connsiteY6" fmla="*/ 4838400 h 4838400"/>
              <a:gd name="connsiteX7" fmla="*/ 6903069 w 12191238"/>
              <a:gd name="connsiteY7" fmla="*/ 4838400 h 4838400"/>
              <a:gd name="connsiteX8" fmla="*/ 0 w 12191238"/>
              <a:gd name="connsiteY8" fmla="*/ 0 h 4838400"/>
              <a:gd name="connsiteX9" fmla="*/ 2169094 w 12191238"/>
              <a:gd name="connsiteY9" fmla="*/ 0 h 4838400"/>
              <a:gd name="connsiteX10" fmla="*/ 2169094 w 12191238"/>
              <a:gd name="connsiteY10" fmla="*/ 4838400 h 4838400"/>
              <a:gd name="connsiteX11" fmla="*/ 0 w 12191238"/>
              <a:gd name="connsiteY11" fmla="*/ 4838400 h 48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1238" h="4838400">
                <a:moveTo>
                  <a:pt x="10755219" y="0"/>
                </a:moveTo>
                <a:lnTo>
                  <a:pt x="12191238" y="0"/>
                </a:lnTo>
                <a:lnTo>
                  <a:pt x="12191238" y="4838400"/>
                </a:lnTo>
                <a:lnTo>
                  <a:pt x="10755219" y="4838400"/>
                </a:lnTo>
                <a:close/>
                <a:moveTo>
                  <a:pt x="6903069" y="0"/>
                </a:moveTo>
                <a:lnTo>
                  <a:pt x="10675869" y="0"/>
                </a:lnTo>
                <a:lnTo>
                  <a:pt x="10675869" y="4838400"/>
                </a:lnTo>
                <a:lnTo>
                  <a:pt x="6903069" y="4838400"/>
                </a:lnTo>
                <a:close/>
                <a:moveTo>
                  <a:pt x="0" y="0"/>
                </a:moveTo>
                <a:lnTo>
                  <a:pt x="2169094" y="0"/>
                </a:lnTo>
                <a:lnTo>
                  <a:pt x="2169094" y="4838400"/>
                </a:lnTo>
                <a:lnTo>
                  <a:pt x="0" y="48384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9168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图片占位符 6">
            <a:extLst>
              <a:ext uri="{FF2B5EF4-FFF2-40B4-BE49-F238E27FC236}">
                <a16:creationId xmlns:a16="http://schemas.microsoft.com/office/drawing/2014/main" id="{ABBDFC0A-D959-4C84-8676-8F0F8ED823A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97186" y="1646362"/>
            <a:ext cx="2129171" cy="1460519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6" name="图片占位符 6">
            <a:extLst>
              <a:ext uri="{FF2B5EF4-FFF2-40B4-BE49-F238E27FC236}">
                <a16:creationId xmlns:a16="http://schemas.microsoft.com/office/drawing/2014/main" id="{6839B8E7-54A4-40C7-A11B-C2183357C9C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15771" y="1646362"/>
            <a:ext cx="2129171" cy="1460519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7" name="图片占位符 6">
            <a:extLst>
              <a:ext uri="{FF2B5EF4-FFF2-40B4-BE49-F238E27FC236}">
                <a16:creationId xmlns:a16="http://schemas.microsoft.com/office/drawing/2014/main" id="{B560B2FF-C7B5-4044-8476-C7E915F265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34356" y="1646362"/>
            <a:ext cx="2129171" cy="1460519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8" name="图片占位符 6">
            <a:extLst>
              <a:ext uri="{FF2B5EF4-FFF2-40B4-BE49-F238E27FC236}">
                <a16:creationId xmlns:a16="http://schemas.microsoft.com/office/drawing/2014/main" id="{D260482A-4D6C-4F03-BDF2-7A1936C2844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52941" y="1646362"/>
            <a:ext cx="2129171" cy="1460519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0737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18" name="图片 117">
            <a:extLst>
              <a:ext uri="{FF2B5EF4-FFF2-40B4-BE49-F238E27FC236}">
                <a16:creationId xmlns:a16="http://schemas.microsoft.com/office/drawing/2014/main" id="{EBAE68E8-22BD-48C0-870B-68575BE99D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15" y="1384085"/>
            <a:ext cx="1945162" cy="4011890"/>
          </a:xfrm>
          <a:prstGeom prst="rect">
            <a:avLst/>
          </a:prstGeom>
        </p:spPr>
      </p:pic>
      <p:sp>
        <p:nvSpPr>
          <p:cNvPr id="119" name="图片占位符 6">
            <a:extLst>
              <a:ext uri="{FF2B5EF4-FFF2-40B4-BE49-F238E27FC236}">
                <a16:creationId xmlns:a16="http://schemas.microsoft.com/office/drawing/2014/main" id="{62C81596-79DC-4E9D-8F56-F1A52ED838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1311" y="1749552"/>
            <a:ext cx="1652017" cy="3279648"/>
          </a:xfrm>
          <a:prstGeom prst="roundRect">
            <a:avLst>
              <a:gd name="adj" fmla="val 5598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114" name="组合 113">
            <a:extLst>
              <a:ext uri="{FF2B5EF4-FFF2-40B4-BE49-F238E27FC236}">
                <a16:creationId xmlns:a16="http://schemas.microsoft.com/office/drawing/2014/main" id="{614A6746-787D-4EC8-B5BD-153DAD07A36C}"/>
              </a:ext>
            </a:extLst>
          </p:cNvPr>
          <p:cNvGrpSpPr/>
          <p:nvPr userDrawn="1"/>
        </p:nvGrpSpPr>
        <p:grpSpPr>
          <a:xfrm>
            <a:off x="2479158" y="1196975"/>
            <a:ext cx="9233416" cy="4932363"/>
            <a:chOff x="2479158" y="1196975"/>
            <a:chExt cx="9233416" cy="4932363"/>
          </a:xfrm>
        </p:grpSpPr>
        <p:sp>
          <p:nvSpPr>
            <p:cNvPr id="115" name="Rectangle 31">
              <a:extLst>
                <a:ext uri="{FF2B5EF4-FFF2-40B4-BE49-F238E27FC236}">
                  <a16:creationId xmlns:a16="http://schemas.microsoft.com/office/drawing/2014/main" id="{835FA047-0718-4BE3-8C96-09EF50A4CF2A}"/>
                </a:ext>
              </a:extLst>
            </p:cNvPr>
            <p:cNvSpPr/>
            <p:nvPr/>
          </p:nvSpPr>
          <p:spPr>
            <a:xfrm>
              <a:off x="3029885" y="1196975"/>
              <a:ext cx="8682689" cy="4932363"/>
            </a:xfrm>
            <a:prstGeom prst="rect">
              <a:avLst/>
            </a:prstGeom>
            <a:pattFill prst="lt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9525" cap="rnd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 err="1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7B1EDE63-815C-4D06-AF38-B394C62D3645}"/>
                </a:ext>
              </a:extLst>
            </p:cNvPr>
            <p:cNvSpPr/>
            <p:nvPr/>
          </p:nvSpPr>
          <p:spPr>
            <a:xfrm>
              <a:off x="2479158" y="1196975"/>
              <a:ext cx="550727" cy="4932363"/>
            </a:xfrm>
            <a:custGeom>
              <a:avLst/>
              <a:gdLst>
                <a:gd name="connsiteX0" fmla="*/ 550727 w 550727"/>
                <a:gd name="connsiteY0" fmla="*/ 0 h 4694366"/>
                <a:gd name="connsiteX1" fmla="*/ 550727 w 550727"/>
                <a:gd name="connsiteY1" fmla="*/ 4694366 h 4694366"/>
                <a:gd name="connsiteX2" fmla="*/ 517963 w 550727"/>
                <a:gd name="connsiteY2" fmla="*/ 4629632 h 4694366"/>
                <a:gd name="connsiteX3" fmla="*/ 4148 w 550727"/>
                <a:gd name="connsiteY3" fmla="*/ 3578354 h 4694366"/>
                <a:gd name="connsiteX4" fmla="*/ 0 w 550727"/>
                <a:gd name="connsiteY4" fmla="*/ 341049 h 4694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727" h="4694366">
                  <a:moveTo>
                    <a:pt x="550727" y="0"/>
                  </a:moveTo>
                  <a:lnTo>
                    <a:pt x="550727" y="4694366"/>
                  </a:lnTo>
                  <a:lnTo>
                    <a:pt x="517963" y="4629632"/>
                  </a:lnTo>
                  <a:cubicBezTo>
                    <a:pt x="226323" y="4050576"/>
                    <a:pt x="115236" y="3809653"/>
                    <a:pt x="4148" y="3578354"/>
                  </a:cubicBezTo>
                  <a:cubicBezTo>
                    <a:pt x="2765" y="2499253"/>
                    <a:pt x="1383" y="1420151"/>
                    <a:pt x="0" y="34104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  <a:alpha val="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spcAft>
                  <a:spcPts val="300"/>
                </a:spcAft>
                <a:buClr>
                  <a:schemeClr val="bg1"/>
                </a:buClr>
              </a:pPr>
              <a:endParaRPr lang="en-US" sz="2400" dirty="0" err="1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6015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2" name="矩形: 圆角 111">
            <a:extLst>
              <a:ext uri="{FF2B5EF4-FFF2-40B4-BE49-F238E27FC236}">
                <a16:creationId xmlns:a16="http://schemas.microsoft.com/office/drawing/2014/main" id="{5BD01A25-85AE-47B1-AA2C-F5A474E0373D}"/>
              </a:ext>
            </a:extLst>
          </p:cNvPr>
          <p:cNvSpPr/>
          <p:nvPr userDrawn="1"/>
        </p:nvSpPr>
        <p:spPr>
          <a:xfrm>
            <a:off x="5218730" y="3758366"/>
            <a:ext cx="2012948" cy="1911598"/>
          </a:xfrm>
          <a:prstGeom prst="roundRect">
            <a:avLst>
              <a:gd name="adj" fmla="val 755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输入小标题</a:t>
            </a:r>
            <a:endParaRPr lang="en-US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34" name="图片占位符 133">
            <a:extLst>
              <a:ext uri="{FF2B5EF4-FFF2-40B4-BE49-F238E27FC236}">
                <a16:creationId xmlns:a16="http://schemas.microsoft.com/office/drawing/2014/main" id="{7C7E4B1B-647A-4646-A4A3-2C672B56DEA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219260" y="3758366"/>
            <a:ext cx="2011888" cy="1341259"/>
          </a:xfrm>
          <a:custGeom>
            <a:avLst/>
            <a:gdLst>
              <a:gd name="connsiteX0" fmla="*/ 142173 w 2011888"/>
              <a:gd name="connsiteY0" fmla="*/ 0 h 1341259"/>
              <a:gd name="connsiteX1" fmla="*/ 1869715 w 2011888"/>
              <a:gd name="connsiteY1" fmla="*/ 0 h 1341259"/>
              <a:gd name="connsiteX2" fmla="*/ 2011888 w 2011888"/>
              <a:gd name="connsiteY2" fmla="*/ 142173 h 1341259"/>
              <a:gd name="connsiteX3" fmla="*/ 2011888 w 2011888"/>
              <a:gd name="connsiteY3" fmla="*/ 1341259 h 1341259"/>
              <a:gd name="connsiteX4" fmla="*/ 0 w 2011888"/>
              <a:gd name="connsiteY4" fmla="*/ 1341259 h 1341259"/>
              <a:gd name="connsiteX5" fmla="*/ 0 w 2011888"/>
              <a:gd name="connsiteY5" fmla="*/ 142173 h 1341259"/>
              <a:gd name="connsiteX6" fmla="*/ 142173 w 2011888"/>
              <a:gd name="connsiteY6" fmla="*/ 0 h 1341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888" h="1341259">
                <a:moveTo>
                  <a:pt x="142173" y="0"/>
                </a:moveTo>
                <a:lnTo>
                  <a:pt x="1869715" y="0"/>
                </a:lnTo>
                <a:cubicBezTo>
                  <a:pt x="1948235" y="0"/>
                  <a:pt x="2011888" y="63653"/>
                  <a:pt x="2011888" y="142173"/>
                </a:cubicBezTo>
                <a:lnTo>
                  <a:pt x="2011888" y="1341259"/>
                </a:lnTo>
                <a:lnTo>
                  <a:pt x="0" y="1341259"/>
                </a:lnTo>
                <a:lnTo>
                  <a:pt x="0" y="142173"/>
                </a:lnTo>
                <a:cubicBezTo>
                  <a:pt x="0" y="63653"/>
                  <a:pt x="63653" y="0"/>
                  <a:pt x="142173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5" name="矩形: 圆角 114">
            <a:extLst>
              <a:ext uri="{FF2B5EF4-FFF2-40B4-BE49-F238E27FC236}">
                <a16:creationId xmlns:a16="http://schemas.microsoft.com/office/drawing/2014/main" id="{EBFB8E03-821E-457C-908F-CD7AC8C0D1C4}"/>
              </a:ext>
            </a:extLst>
          </p:cNvPr>
          <p:cNvSpPr/>
          <p:nvPr userDrawn="1"/>
        </p:nvSpPr>
        <p:spPr>
          <a:xfrm>
            <a:off x="7554743" y="1721476"/>
            <a:ext cx="4157833" cy="3948488"/>
          </a:xfrm>
          <a:prstGeom prst="roundRect">
            <a:avLst>
              <a:gd name="adj" fmla="val 3609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75757"/>
              </a:solidFill>
              <a:cs typeface="+mn-ea"/>
              <a:sym typeface="+mn-lt"/>
            </a:endParaRPr>
          </a:p>
        </p:txBody>
      </p:sp>
      <p:sp>
        <p:nvSpPr>
          <p:cNvPr id="118" name="矩形: 圆角 117">
            <a:extLst>
              <a:ext uri="{FF2B5EF4-FFF2-40B4-BE49-F238E27FC236}">
                <a16:creationId xmlns:a16="http://schemas.microsoft.com/office/drawing/2014/main" id="{4B34CD58-1A67-4C28-BB4D-C2F72E75DD00}"/>
              </a:ext>
            </a:extLst>
          </p:cNvPr>
          <p:cNvSpPr/>
          <p:nvPr userDrawn="1"/>
        </p:nvSpPr>
        <p:spPr>
          <a:xfrm>
            <a:off x="2899324" y="3758366"/>
            <a:ext cx="2012948" cy="1911598"/>
          </a:xfrm>
          <a:prstGeom prst="roundRect">
            <a:avLst>
              <a:gd name="adj" fmla="val 7552"/>
            </a:avLst>
          </a:prstGeom>
          <a:solidFill>
            <a:schemeClr val="bg1"/>
          </a:solidFill>
          <a:ln>
            <a:noFill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输入小标题</a:t>
            </a:r>
            <a:endParaRPr lang="en-US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33" name="图片占位符 132">
            <a:extLst>
              <a:ext uri="{FF2B5EF4-FFF2-40B4-BE49-F238E27FC236}">
                <a16:creationId xmlns:a16="http://schemas.microsoft.com/office/drawing/2014/main" id="{81A40E5D-1A1B-4658-B395-24A5559DD3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899854" y="3758366"/>
            <a:ext cx="2011888" cy="1341259"/>
          </a:xfrm>
          <a:custGeom>
            <a:avLst/>
            <a:gdLst>
              <a:gd name="connsiteX0" fmla="*/ 142173 w 2011888"/>
              <a:gd name="connsiteY0" fmla="*/ 0 h 1341259"/>
              <a:gd name="connsiteX1" fmla="*/ 1869715 w 2011888"/>
              <a:gd name="connsiteY1" fmla="*/ 0 h 1341259"/>
              <a:gd name="connsiteX2" fmla="*/ 2011888 w 2011888"/>
              <a:gd name="connsiteY2" fmla="*/ 142173 h 1341259"/>
              <a:gd name="connsiteX3" fmla="*/ 2011888 w 2011888"/>
              <a:gd name="connsiteY3" fmla="*/ 1341259 h 1341259"/>
              <a:gd name="connsiteX4" fmla="*/ 0 w 2011888"/>
              <a:gd name="connsiteY4" fmla="*/ 1341259 h 1341259"/>
              <a:gd name="connsiteX5" fmla="*/ 0 w 2011888"/>
              <a:gd name="connsiteY5" fmla="*/ 142173 h 1341259"/>
              <a:gd name="connsiteX6" fmla="*/ 142173 w 2011888"/>
              <a:gd name="connsiteY6" fmla="*/ 0 h 1341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888" h="1341259">
                <a:moveTo>
                  <a:pt x="142173" y="0"/>
                </a:moveTo>
                <a:lnTo>
                  <a:pt x="1869715" y="0"/>
                </a:lnTo>
                <a:cubicBezTo>
                  <a:pt x="1948235" y="0"/>
                  <a:pt x="2011888" y="63653"/>
                  <a:pt x="2011888" y="142173"/>
                </a:cubicBezTo>
                <a:lnTo>
                  <a:pt x="2011888" y="1341259"/>
                </a:lnTo>
                <a:lnTo>
                  <a:pt x="0" y="1341259"/>
                </a:lnTo>
                <a:lnTo>
                  <a:pt x="0" y="142173"/>
                </a:lnTo>
                <a:cubicBezTo>
                  <a:pt x="0" y="63653"/>
                  <a:pt x="63653" y="0"/>
                  <a:pt x="142173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1" name="矩形: 圆角 120">
            <a:extLst>
              <a:ext uri="{FF2B5EF4-FFF2-40B4-BE49-F238E27FC236}">
                <a16:creationId xmlns:a16="http://schemas.microsoft.com/office/drawing/2014/main" id="{38DCD6B0-8C52-453C-8313-7B05FC6CF782}"/>
              </a:ext>
            </a:extLst>
          </p:cNvPr>
          <p:cNvSpPr/>
          <p:nvPr userDrawn="1"/>
        </p:nvSpPr>
        <p:spPr>
          <a:xfrm>
            <a:off x="5218730" y="1693718"/>
            <a:ext cx="2012948" cy="1911598"/>
          </a:xfrm>
          <a:prstGeom prst="roundRect">
            <a:avLst>
              <a:gd name="adj" fmla="val 755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75757"/>
              </a:solidFill>
              <a:cs typeface="+mn-ea"/>
              <a:sym typeface="+mn-lt"/>
            </a:endParaRPr>
          </a:p>
        </p:txBody>
      </p:sp>
      <p:sp>
        <p:nvSpPr>
          <p:cNvPr id="131" name="图片占位符 130">
            <a:extLst>
              <a:ext uri="{FF2B5EF4-FFF2-40B4-BE49-F238E27FC236}">
                <a16:creationId xmlns:a16="http://schemas.microsoft.com/office/drawing/2014/main" id="{9512C034-CF4F-4C57-A560-AD7599D4780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19260" y="1693718"/>
            <a:ext cx="2011888" cy="1341259"/>
          </a:xfrm>
          <a:custGeom>
            <a:avLst/>
            <a:gdLst>
              <a:gd name="connsiteX0" fmla="*/ 142173 w 2011888"/>
              <a:gd name="connsiteY0" fmla="*/ 0 h 1341259"/>
              <a:gd name="connsiteX1" fmla="*/ 1869715 w 2011888"/>
              <a:gd name="connsiteY1" fmla="*/ 0 h 1341259"/>
              <a:gd name="connsiteX2" fmla="*/ 2011888 w 2011888"/>
              <a:gd name="connsiteY2" fmla="*/ 142173 h 1341259"/>
              <a:gd name="connsiteX3" fmla="*/ 2011888 w 2011888"/>
              <a:gd name="connsiteY3" fmla="*/ 1341259 h 1341259"/>
              <a:gd name="connsiteX4" fmla="*/ 0 w 2011888"/>
              <a:gd name="connsiteY4" fmla="*/ 1341259 h 1341259"/>
              <a:gd name="connsiteX5" fmla="*/ 0 w 2011888"/>
              <a:gd name="connsiteY5" fmla="*/ 142173 h 1341259"/>
              <a:gd name="connsiteX6" fmla="*/ 142173 w 2011888"/>
              <a:gd name="connsiteY6" fmla="*/ 0 h 1341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888" h="1341259">
                <a:moveTo>
                  <a:pt x="142173" y="0"/>
                </a:moveTo>
                <a:lnTo>
                  <a:pt x="1869715" y="0"/>
                </a:lnTo>
                <a:cubicBezTo>
                  <a:pt x="1948235" y="0"/>
                  <a:pt x="2011888" y="63653"/>
                  <a:pt x="2011888" y="142173"/>
                </a:cubicBezTo>
                <a:lnTo>
                  <a:pt x="2011888" y="1341259"/>
                </a:lnTo>
                <a:lnTo>
                  <a:pt x="0" y="1341259"/>
                </a:lnTo>
                <a:lnTo>
                  <a:pt x="0" y="142173"/>
                </a:lnTo>
                <a:cubicBezTo>
                  <a:pt x="0" y="63653"/>
                  <a:pt x="63653" y="0"/>
                  <a:pt x="142173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4" name="矩形: 圆角 123">
            <a:extLst>
              <a:ext uri="{FF2B5EF4-FFF2-40B4-BE49-F238E27FC236}">
                <a16:creationId xmlns:a16="http://schemas.microsoft.com/office/drawing/2014/main" id="{4FB3CB73-986D-45E7-B4B7-250485EF469A}"/>
              </a:ext>
            </a:extLst>
          </p:cNvPr>
          <p:cNvSpPr/>
          <p:nvPr userDrawn="1"/>
        </p:nvSpPr>
        <p:spPr>
          <a:xfrm>
            <a:off x="2899324" y="1693718"/>
            <a:ext cx="2012948" cy="1911598"/>
          </a:xfrm>
          <a:prstGeom prst="roundRect">
            <a:avLst>
              <a:gd name="adj" fmla="val 755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75757"/>
              </a:solidFill>
              <a:cs typeface="+mn-ea"/>
              <a:sym typeface="+mn-lt"/>
            </a:endParaRPr>
          </a:p>
        </p:txBody>
      </p:sp>
      <p:sp>
        <p:nvSpPr>
          <p:cNvPr id="127" name="矩形: 圆角 126">
            <a:extLst>
              <a:ext uri="{FF2B5EF4-FFF2-40B4-BE49-F238E27FC236}">
                <a16:creationId xmlns:a16="http://schemas.microsoft.com/office/drawing/2014/main" id="{9703F79A-4DE5-46AC-B519-0702EB4B1021}"/>
              </a:ext>
            </a:extLst>
          </p:cNvPr>
          <p:cNvSpPr/>
          <p:nvPr userDrawn="1"/>
        </p:nvSpPr>
        <p:spPr>
          <a:xfrm>
            <a:off x="515938" y="3758366"/>
            <a:ext cx="2012948" cy="1911598"/>
          </a:xfrm>
          <a:prstGeom prst="roundRect">
            <a:avLst>
              <a:gd name="adj" fmla="val 755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32" name="图片占位符 131">
            <a:extLst>
              <a:ext uri="{FF2B5EF4-FFF2-40B4-BE49-F238E27FC236}">
                <a16:creationId xmlns:a16="http://schemas.microsoft.com/office/drawing/2014/main" id="{F0AC285A-9E90-424D-AAE1-B279088F65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6468" y="3758366"/>
            <a:ext cx="2011888" cy="1341259"/>
          </a:xfrm>
          <a:custGeom>
            <a:avLst/>
            <a:gdLst>
              <a:gd name="connsiteX0" fmla="*/ 142173 w 2011888"/>
              <a:gd name="connsiteY0" fmla="*/ 0 h 1341259"/>
              <a:gd name="connsiteX1" fmla="*/ 1869715 w 2011888"/>
              <a:gd name="connsiteY1" fmla="*/ 0 h 1341259"/>
              <a:gd name="connsiteX2" fmla="*/ 2011888 w 2011888"/>
              <a:gd name="connsiteY2" fmla="*/ 142173 h 1341259"/>
              <a:gd name="connsiteX3" fmla="*/ 2011888 w 2011888"/>
              <a:gd name="connsiteY3" fmla="*/ 1341259 h 1341259"/>
              <a:gd name="connsiteX4" fmla="*/ 0 w 2011888"/>
              <a:gd name="connsiteY4" fmla="*/ 1341259 h 1341259"/>
              <a:gd name="connsiteX5" fmla="*/ 0 w 2011888"/>
              <a:gd name="connsiteY5" fmla="*/ 142173 h 1341259"/>
              <a:gd name="connsiteX6" fmla="*/ 142173 w 2011888"/>
              <a:gd name="connsiteY6" fmla="*/ 0 h 1341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888" h="1341259">
                <a:moveTo>
                  <a:pt x="142173" y="0"/>
                </a:moveTo>
                <a:lnTo>
                  <a:pt x="1869715" y="0"/>
                </a:lnTo>
                <a:cubicBezTo>
                  <a:pt x="1948235" y="0"/>
                  <a:pt x="2011888" y="63653"/>
                  <a:pt x="2011888" y="142173"/>
                </a:cubicBezTo>
                <a:lnTo>
                  <a:pt x="2011888" y="1341259"/>
                </a:lnTo>
                <a:lnTo>
                  <a:pt x="0" y="1341259"/>
                </a:lnTo>
                <a:lnTo>
                  <a:pt x="0" y="142173"/>
                </a:lnTo>
                <a:cubicBezTo>
                  <a:pt x="0" y="63653"/>
                  <a:pt x="63653" y="0"/>
                  <a:pt x="142173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0" name="图片占位符 129">
            <a:extLst>
              <a:ext uri="{FF2B5EF4-FFF2-40B4-BE49-F238E27FC236}">
                <a16:creationId xmlns:a16="http://schemas.microsoft.com/office/drawing/2014/main" id="{455D71AD-F0C2-42D8-8A7A-AD2CE05AA86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899854" y="1693718"/>
            <a:ext cx="2011888" cy="1341259"/>
          </a:xfrm>
          <a:custGeom>
            <a:avLst/>
            <a:gdLst>
              <a:gd name="connsiteX0" fmla="*/ 142173 w 2011888"/>
              <a:gd name="connsiteY0" fmla="*/ 0 h 1341259"/>
              <a:gd name="connsiteX1" fmla="*/ 1869715 w 2011888"/>
              <a:gd name="connsiteY1" fmla="*/ 0 h 1341259"/>
              <a:gd name="connsiteX2" fmla="*/ 2011888 w 2011888"/>
              <a:gd name="connsiteY2" fmla="*/ 142173 h 1341259"/>
              <a:gd name="connsiteX3" fmla="*/ 2011888 w 2011888"/>
              <a:gd name="connsiteY3" fmla="*/ 1341259 h 1341259"/>
              <a:gd name="connsiteX4" fmla="*/ 0 w 2011888"/>
              <a:gd name="connsiteY4" fmla="*/ 1341259 h 1341259"/>
              <a:gd name="connsiteX5" fmla="*/ 0 w 2011888"/>
              <a:gd name="connsiteY5" fmla="*/ 142173 h 1341259"/>
              <a:gd name="connsiteX6" fmla="*/ 142173 w 2011888"/>
              <a:gd name="connsiteY6" fmla="*/ 0 h 1341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888" h="1341259">
                <a:moveTo>
                  <a:pt x="142173" y="0"/>
                </a:moveTo>
                <a:lnTo>
                  <a:pt x="1869715" y="0"/>
                </a:lnTo>
                <a:cubicBezTo>
                  <a:pt x="1948235" y="0"/>
                  <a:pt x="2011888" y="63653"/>
                  <a:pt x="2011888" y="142173"/>
                </a:cubicBezTo>
                <a:lnTo>
                  <a:pt x="2011888" y="1341259"/>
                </a:lnTo>
                <a:lnTo>
                  <a:pt x="0" y="1341259"/>
                </a:lnTo>
                <a:lnTo>
                  <a:pt x="0" y="142173"/>
                </a:lnTo>
                <a:cubicBezTo>
                  <a:pt x="0" y="63653"/>
                  <a:pt x="63653" y="0"/>
                  <a:pt x="142173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5" name="图片占位符 134">
            <a:extLst>
              <a:ext uri="{FF2B5EF4-FFF2-40B4-BE49-F238E27FC236}">
                <a16:creationId xmlns:a16="http://schemas.microsoft.com/office/drawing/2014/main" id="{FD2403C6-27F1-49F7-9CC0-6FFEA7459F5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554741" y="1721476"/>
            <a:ext cx="4156652" cy="3379108"/>
          </a:xfrm>
          <a:custGeom>
            <a:avLst/>
            <a:gdLst>
              <a:gd name="connsiteX0" fmla="*/ 159561 w 4156652"/>
              <a:gd name="connsiteY0" fmla="*/ 0 h 3379108"/>
              <a:gd name="connsiteX1" fmla="*/ 3997091 w 4156652"/>
              <a:gd name="connsiteY1" fmla="*/ 0 h 3379108"/>
              <a:gd name="connsiteX2" fmla="*/ 4156652 w 4156652"/>
              <a:gd name="connsiteY2" fmla="*/ 159561 h 3379108"/>
              <a:gd name="connsiteX3" fmla="*/ 4156652 w 4156652"/>
              <a:gd name="connsiteY3" fmla="*/ 3379108 h 3379108"/>
              <a:gd name="connsiteX4" fmla="*/ 0 w 4156652"/>
              <a:gd name="connsiteY4" fmla="*/ 3379108 h 3379108"/>
              <a:gd name="connsiteX5" fmla="*/ 0 w 4156652"/>
              <a:gd name="connsiteY5" fmla="*/ 159561 h 3379108"/>
              <a:gd name="connsiteX6" fmla="*/ 159561 w 4156652"/>
              <a:gd name="connsiteY6" fmla="*/ 0 h 3379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6652" h="3379108">
                <a:moveTo>
                  <a:pt x="159561" y="0"/>
                </a:moveTo>
                <a:lnTo>
                  <a:pt x="3997091" y="0"/>
                </a:lnTo>
                <a:cubicBezTo>
                  <a:pt x="4085214" y="0"/>
                  <a:pt x="4156652" y="71438"/>
                  <a:pt x="4156652" y="159561"/>
                </a:cubicBezTo>
                <a:lnTo>
                  <a:pt x="4156652" y="3379108"/>
                </a:lnTo>
                <a:lnTo>
                  <a:pt x="0" y="3379108"/>
                </a:lnTo>
                <a:lnTo>
                  <a:pt x="0" y="159561"/>
                </a:lnTo>
                <a:cubicBezTo>
                  <a:pt x="0" y="71438"/>
                  <a:pt x="71438" y="0"/>
                  <a:pt x="159561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文本占位符 10">
            <a:extLst>
              <a:ext uri="{FF2B5EF4-FFF2-40B4-BE49-F238E27FC236}">
                <a16:creationId xmlns:a16="http://schemas.microsoft.com/office/drawing/2014/main" id="{AE91FC7A-48CA-40F8-A53B-0AA393BBA88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960699"/>
            <a:ext cx="2012948" cy="2644617"/>
          </a:xfrm>
          <a:solidFill>
            <a:schemeClr val="accent1"/>
          </a:solidFill>
        </p:spPr>
        <p:txBody>
          <a:bodyPr bIns="324000" anchor="b" anchorCtr="1"/>
          <a:lstStyle>
            <a:lvl1pPr marL="0" algn="ctr" defTabSz="685800" rtl="0" eaLnBrk="1" latinLnBrk="0" hangingPunct="1">
              <a:lnSpc>
                <a:spcPct val="90000"/>
              </a:lnSpc>
              <a:spcBef>
                <a:spcPct val="0"/>
              </a:spcBef>
              <a:defRPr lang="en-US" sz="2400" b="1" kern="1200" dirty="0">
                <a:ln w="6350">
                  <a:noFill/>
                </a:ln>
                <a:solidFill>
                  <a:srgbClr val="FFFFFF"/>
                </a:solidFill>
                <a:effectLst>
                  <a:outerShdw dist="63500" dir="3000000" algn="tl">
                    <a:srgbClr val="000000">
                      <a:alpha val="12000"/>
                    </a:srgbClr>
                  </a:outerShdw>
                </a:effectLst>
                <a:latin typeface="+mn-lt"/>
                <a:ea typeface="+mn-ea"/>
                <a:cs typeface="+mn-ea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文本占位符 12">
            <a:extLst>
              <a:ext uri="{FF2B5EF4-FFF2-40B4-BE49-F238E27FC236}">
                <a16:creationId xmlns:a16="http://schemas.microsoft.com/office/drawing/2014/main" id="{22A43FA3-D81F-4185-9CE1-B667D8F7B6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99854" y="3170238"/>
            <a:ext cx="2011888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  <p:sp>
        <p:nvSpPr>
          <p:cNvPr id="138" name="文本占位符 12">
            <a:extLst>
              <a:ext uri="{FF2B5EF4-FFF2-40B4-BE49-F238E27FC236}">
                <a16:creationId xmlns:a16="http://schemas.microsoft.com/office/drawing/2014/main" id="{990D8012-BA06-4481-AEC4-0642C9715E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19260" y="3170238"/>
            <a:ext cx="2011888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  <p:sp>
        <p:nvSpPr>
          <p:cNvPr id="139" name="文本占位符 12">
            <a:extLst>
              <a:ext uri="{FF2B5EF4-FFF2-40B4-BE49-F238E27FC236}">
                <a16:creationId xmlns:a16="http://schemas.microsoft.com/office/drawing/2014/main" id="{8A9FE278-00D0-4C64-952A-E3DB6777E4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6468" y="5193592"/>
            <a:ext cx="2011888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  <p:sp>
        <p:nvSpPr>
          <p:cNvPr id="140" name="文本占位符 12">
            <a:extLst>
              <a:ext uri="{FF2B5EF4-FFF2-40B4-BE49-F238E27FC236}">
                <a16:creationId xmlns:a16="http://schemas.microsoft.com/office/drawing/2014/main" id="{2B78EFFD-83B8-4ABA-A142-844C8AF095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9854" y="5193592"/>
            <a:ext cx="2011888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  <p:sp>
        <p:nvSpPr>
          <p:cNvPr id="141" name="文本占位符 12">
            <a:extLst>
              <a:ext uri="{FF2B5EF4-FFF2-40B4-BE49-F238E27FC236}">
                <a16:creationId xmlns:a16="http://schemas.microsoft.com/office/drawing/2014/main" id="{623E3501-616C-44E9-B5D1-50211EAD4DC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19260" y="5193592"/>
            <a:ext cx="2011888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  <p:sp>
        <p:nvSpPr>
          <p:cNvPr id="142" name="文本占位符 12">
            <a:extLst>
              <a:ext uri="{FF2B5EF4-FFF2-40B4-BE49-F238E27FC236}">
                <a16:creationId xmlns:a16="http://schemas.microsoft.com/office/drawing/2014/main" id="{BD950119-715B-4E14-B46C-1C12249B6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4743" y="5193592"/>
            <a:ext cx="4157833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8421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2" name="任意多边形: 形状 111">
            <a:extLst>
              <a:ext uri="{FF2B5EF4-FFF2-40B4-BE49-F238E27FC236}">
                <a16:creationId xmlns:a16="http://schemas.microsoft.com/office/drawing/2014/main" id="{9B7CF053-4321-47A4-823F-0329EDE0F746}"/>
              </a:ext>
            </a:extLst>
          </p:cNvPr>
          <p:cNvSpPr/>
          <p:nvPr userDrawn="1"/>
        </p:nvSpPr>
        <p:spPr>
          <a:xfrm flipV="1">
            <a:off x="0" y="4388818"/>
            <a:ext cx="12192000" cy="1981678"/>
          </a:xfrm>
          <a:custGeom>
            <a:avLst/>
            <a:gdLst>
              <a:gd name="connsiteX0" fmla="*/ 6096000 w 12192000"/>
              <a:gd name="connsiteY0" fmla="*/ 1981678 h 1981678"/>
              <a:gd name="connsiteX1" fmla="*/ 12187594 w 12192000"/>
              <a:gd name="connsiteY1" fmla="*/ 859019 h 1981678"/>
              <a:gd name="connsiteX2" fmla="*/ 12192000 w 12192000"/>
              <a:gd name="connsiteY2" fmla="*/ 853440 h 1981678"/>
              <a:gd name="connsiteX3" fmla="*/ 12192000 w 12192000"/>
              <a:gd name="connsiteY3" fmla="*/ 0 h 1981678"/>
              <a:gd name="connsiteX4" fmla="*/ 12187594 w 12192000"/>
              <a:gd name="connsiteY4" fmla="*/ 5579 h 1981678"/>
              <a:gd name="connsiteX5" fmla="*/ 6096000 w 12192000"/>
              <a:gd name="connsiteY5" fmla="*/ 1128238 h 1981678"/>
              <a:gd name="connsiteX6" fmla="*/ 4406 w 12192000"/>
              <a:gd name="connsiteY6" fmla="*/ 5579 h 1981678"/>
              <a:gd name="connsiteX7" fmla="*/ 0 w 12192000"/>
              <a:gd name="connsiteY7" fmla="*/ 0 h 1981678"/>
              <a:gd name="connsiteX8" fmla="*/ 0 w 12192000"/>
              <a:gd name="connsiteY8" fmla="*/ 853440 h 1981678"/>
              <a:gd name="connsiteX9" fmla="*/ 4406 w 12192000"/>
              <a:gd name="connsiteY9" fmla="*/ 859019 h 1981678"/>
              <a:gd name="connsiteX10" fmla="*/ 6096000 w 12192000"/>
              <a:gd name="connsiteY10" fmla="*/ 1981678 h 1981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1981678">
                <a:moveTo>
                  <a:pt x="6096000" y="1981678"/>
                </a:moveTo>
                <a:cubicBezTo>
                  <a:pt x="9100804" y="1981678"/>
                  <a:pt x="11607796" y="1499720"/>
                  <a:pt x="12187594" y="859019"/>
                </a:cubicBezTo>
                <a:lnTo>
                  <a:pt x="12192000" y="853440"/>
                </a:lnTo>
                <a:lnTo>
                  <a:pt x="12192000" y="0"/>
                </a:lnTo>
                <a:lnTo>
                  <a:pt x="12187594" y="5579"/>
                </a:lnTo>
                <a:cubicBezTo>
                  <a:pt x="11607796" y="646280"/>
                  <a:pt x="9100804" y="1128238"/>
                  <a:pt x="6096000" y="1128238"/>
                </a:cubicBezTo>
                <a:cubicBezTo>
                  <a:pt x="3091196" y="1128238"/>
                  <a:pt x="584204" y="646280"/>
                  <a:pt x="4406" y="5579"/>
                </a:cubicBezTo>
                <a:lnTo>
                  <a:pt x="0" y="0"/>
                </a:lnTo>
                <a:lnTo>
                  <a:pt x="0" y="853440"/>
                </a:lnTo>
                <a:lnTo>
                  <a:pt x="4406" y="859019"/>
                </a:lnTo>
                <a:cubicBezTo>
                  <a:pt x="584204" y="1499720"/>
                  <a:pt x="3091196" y="1981678"/>
                  <a:pt x="6096000" y="198167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13" name="任意多边形: 形状 112">
            <a:extLst>
              <a:ext uri="{FF2B5EF4-FFF2-40B4-BE49-F238E27FC236}">
                <a16:creationId xmlns:a16="http://schemas.microsoft.com/office/drawing/2014/main" id="{87E050B5-3F0E-4397-8BDA-D7A152D2FDB4}"/>
              </a:ext>
            </a:extLst>
          </p:cNvPr>
          <p:cNvSpPr/>
          <p:nvPr userDrawn="1"/>
        </p:nvSpPr>
        <p:spPr>
          <a:xfrm flipV="1">
            <a:off x="0" y="4379751"/>
            <a:ext cx="12192000" cy="1128238"/>
          </a:xfrm>
          <a:custGeom>
            <a:avLst/>
            <a:gdLst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" fmla="*/ 0 w 12192000"/>
              <a:gd name="connsiteY0" fmla="*/ 4660323 h 4739944"/>
              <a:gd name="connsiteX1" fmla="*/ 7260 w 12192000"/>
              <a:gd name="connsiteY1" fmla="*/ 4660323 h 4739944"/>
              <a:gd name="connsiteX2" fmla="*/ 157626 w 12192000"/>
              <a:gd name="connsiteY2" fmla="*/ 4545180 h 4739944"/>
              <a:gd name="connsiteX3" fmla="*/ 6096000 w 12192000"/>
              <a:gd name="connsiteY3" fmla="*/ 3684963 h 4739944"/>
              <a:gd name="connsiteX4" fmla="*/ 12034375 w 12192000"/>
              <a:gd name="connsiteY4" fmla="*/ 4545180 h 4739944"/>
              <a:gd name="connsiteX5" fmla="*/ 12184741 w 12192000"/>
              <a:gd name="connsiteY5" fmla="*/ 4660323 h 4739944"/>
              <a:gd name="connsiteX6" fmla="*/ 12192000 w 12192000"/>
              <a:gd name="connsiteY6" fmla="*/ 4660323 h 4739944"/>
              <a:gd name="connsiteX7" fmla="*/ 12192000 w 12192000"/>
              <a:gd name="connsiteY7" fmla="*/ 0 h 4739944"/>
              <a:gd name="connsiteX8" fmla="*/ 12187594 w 12192000"/>
              <a:gd name="connsiteY8" fmla="*/ 4858 h 4739944"/>
              <a:gd name="connsiteX9" fmla="*/ 6096000 w 12192000"/>
              <a:gd name="connsiteY9" fmla="*/ 982403 h 4739944"/>
              <a:gd name="connsiteX10" fmla="*/ 4406 w 12192000"/>
              <a:gd name="connsiteY10" fmla="*/ 4858 h 4739944"/>
              <a:gd name="connsiteX11" fmla="*/ 0 w 12192000"/>
              <a:gd name="connsiteY11" fmla="*/ 0 h 4739944"/>
              <a:gd name="connsiteX12" fmla="*/ 91440 w 12192000"/>
              <a:gd name="connsiteY12" fmla="*/ 4739944 h 4739944"/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6096000 w 12192000"/>
              <a:gd name="connsiteY2" fmla="*/ 3684963 h 4660323"/>
              <a:gd name="connsiteX3" fmla="*/ 12034375 w 12192000"/>
              <a:gd name="connsiteY3" fmla="*/ 4545180 h 4660323"/>
              <a:gd name="connsiteX4" fmla="*/ 12184741 w 12192000"/>
              <a:gd name="connsiteY4" fmla="*/ 4660323 h 4660323"/>
              <a:gd name="connsiteX5" fmla="*/ 12192000 w 12192000"/>
              <a:gd name="connsiteY5" fmla="*/ 4660323 h 4660323"/>
              <a:gd name="connsiteX6" fmla="*/ 12192000 w 12192000"/>
              <a:gd name="connsiteY6" fmla="*/ 0 h 4660323"/>
              <a:gd name="connsiteX7" fmla="*/ 12187594 w 12192000"/>
              <a:gd name="connsiteY7" fmla="*/ 4858 h 4660323"/>
              <a:gd name="connsiteX8" fmla="*/ 6096000 w 12192000"/>
              <a:gd name="connsiteY8" fmla="*/ 982403 h 4660323"/>
              <a:gd name="connsiteX9" fmla="*/ 4406 w 12192000"/>
              <a:gd name="connsiteY9" fmla="*/ 4858 h 4660323"/>
              <a:gd name="connsiteX10" fmla="*/ 0 w 12192000"/>
              <a:gd name="connsiteY10" fmla="*/ 0 h 4660323"/>
              <a:gd name="connsiteX0" fmla="*/ 0 w 12192000"/>
              <a:gd name="connsiteY0" fmla="*/ 4660323 h 4660323"/>
              <a:gd name="connsiteX1" fmla="*/ 6096000 w 12192000"/>
              <a:gd name="connsiteY1" fmla="*/ 3684963 h 4660323"/>
              <a:gd name="connsiteX2" fmla="*/ 12034375 w 12192000"/>
              <a:gd name="connsiteY2" fmla="*/ 4545180 h 4660323"/>
              <a:gd name="connsiteX3" fmla="*/ 12184741 w 12192000"/>
              <a:gd name="connsiteY3" fmla="*/ 4660323 h 4660323"/>
              <a:gd name="connsiteX4" fmla="*/ 12192000 w 12192000"/>
              <a:gd name="connsiteY4" fmla="*/ 4660323 h 4660323"/>
              <a:gd name="connsiteX5" fmla="*/ 12192000 w 12192000"/>
              <a:gd name="connsiteY5" fmla="*/ 0 h 4660323"/>
              <a:gd name="connsiteX6" fmla="*/ 12187594 w 12192000"/>
              <a:gd name="connsiteY6" fmla="*/ 4858 h 4660323"/>
              <a:gd name="connsiteX7" fmla="*/ 6096000 w 12192000"/>
              <a:gd name="connsiteY7" fmla="*/ 982403 h 4660323"/>
              <a:gd name="connsiteX8" fmla="*/ 4406 w 12192000"/>
              <a:gd name="connsiteY8" fmla="*/ 4858 h 4660323"/>
              <a:gd name="connsiteX9" fmla="*/ 0 w 12192000"/>
              <a:gd name="connsiteY9" fmla="*/ 0 h 4660323"/>
              <a:gd name="connsiteX0" fmla="*/ 6096000 w 12192000"/>
              <a:gd name="connsiteY0" fmla="*/ 3684963 h 4660323"/>
              <a:gd name="connsiteX1" fmla="*/ 12034375 w 12192000"/>
              <a:gd name="connsiteY1" fmla="*/ 4545180 h 4660323"/>
              <a:gd name="connsiteX2" fmla="*/ 12184741 w 12192000"/>
              <a:gd name="connsiteY2" fmla="*/ 4660323 h 4660323"/>
              <a:gd name="connsiteX3" fmla="*/ 12192000 w 12192000"/>
              <a:gd name="connsiteY3" fmla="*/ 4660323 h 4660323"/>
              <a:gd name="connsiteX4" fmla="*/ 12192000 w 12192000"/>
              <a:gd name="connsiteY4" fmla="*/ 0 h 4660323"/>
              <a:gd name="connsiteX5" fmla="*/ 12187594 w 12192000"/>
              <a:gd name="connsiteY5" fmla="*/ 4858 h 4660323"/>
              <a:gd name="connsiteX6" fmla="*/ 6096000 w 12192000"/>
              <a:gd name="connsiteY6" fmla="*/ 982403 h 4660323"/>
              <a:gd name="connsiteX7" fmla="*/ 4406 w 12192000"/>
              <a:gd name="connsiteY7" fmla="*/ 4858 h 4660323"/>
              <a:gd name="connsiteX8" fmla="*/ 0 w 12192000"/>
              <a:gd name="connsiteY8" fmla="*/ 0 h 4660323"/>
              <a:gd name="connsiteX0" fmla="*/ 12034375 w 12192000"/>
              <a:gd name="connsiteY0" fmla="*/ 4545180 h 4660323"/>
              <a:gd name="connsiteX1" fmla="*/ 12184741 w 12192000"/>
              <a:gd name="connsiteY1" fmla="*/ 4660323 h 4660323"/>
              <a:gd name="connsiteX2" fmla="*/ 12192000 w 12192000"/>
              <a:gd name="connsiteY2" fmla="*/ 4660323 h 4660323"/>
              <a:gd name="connsiteX3" fmla="*/ 12192000 w 12192000"/>
              <a:gd name="connsiteY3" fmla="*/ 0 h 4660323"/>
              <a:gd name="connsiteX4" fmla="*/ 12187594 w 12192000"/>
              <a:gd name="connsiteY4" fmla="*/ 4858 h 4660323"/>
              <a:gd name="connsiteX5" fmla="*/ 6096000 w 12192000"/>
              <a:gd name="connsiteY5" fmla="*/ 982403 h 4660323"/>
              <a:gd name="connsiteX6" fmla="*/ 4406 w 12192000"/>
              <a:gd name="connsiteY6" fmla="*/ 4858 h 4660323"/>
              <a:gd name="connsiteX7" fmla="*/ 0 w 12192000"/>
              <a:gd name="connsiteY7" fmla="*/ 0 h 4660323"/>
              <a:gd name="connsiteX0" fmla="*/ 12184741 w 12192000"/>
              <a:gd name="connsiteY0" fmla="*/ 4660323 h 4660323"/>
              <a:gd name="connsiteX1" fmla="*/ 12192000 w 12192000"/>
              <a:gd name="connsiteY1" fmla="*/ 4660323 h 4660323"/>
              <a:gd name="connsiteX2" fmla="*/ 12192000 w 12192000"/>
              <a:gd name="connsiteY2" fmla="*/ 0 h 4660323"/>
              <a:gd name="connsiteX3" fmla="*/ 12187594 w 12192000"/>
              <a:gd name="connsiteY3" fmla="*/ 4858 h 4660323"/>
              <a:gd name="connsiteX4" fmla="*/ 6096000 w 12192000"/>
              <a:gd name="connsiteY4" fmla="*/ 982403 h 4660323"/>
              <a:gd name="connsiteX5" fmla="*/ 4406 w 12192000"/>
              <a:gd name="connsiteY5" fmla="*/ 4858 h 4660323"/>
              <a:gd name="connsiteX6" fmla="*/ 0 w 12192000"/>
              <a:gd name="connsiteY6" fmla="*/ 0 h 4660323"/>
              <a:gd name="connsiteX0" fmla="*/ 12184741 w 12192000"/>
              <a:gd name="connsiteY0" fmla="*/ 4660323 h 4660323"/>
              <a:gd name="connsiteX1" fmla="*/ 12192000 w 12192000"/>
              <a:gd name="connsiteY1" fmla="*/ 0 h 4660323"/>
              <a:gd name="connsiteX2" fmla="*/ 12187594 w 12192000"/>
              <a:gd name="connsiteY2" fmla="*/ 4858 h 4660323"/>
              <a:gd name="connsiteX3" fmla="*/ 6096000 w 12192000"/>
              <a:gd name="connsiteY3" fmla="*/ 982403 h 4660323"/>
              <a:gd name="connsiteX4" fmla="*/ 4406 w 12192000"/>
              <a:gd name="connsiteY4" fmla="*/ 4858 h 4660323"/>
              <a:gd name="connsiteX5" fmla="*/ 0 w 12192000"/>
              <a:gd name="connsiteY5" fmla="*/ 0 h 4660323"/>
              <a:gd name="connsiteX0" fmla="*/ 12192000 w 12192000"/>
              <a:gd name="connsiteY0" fmla="*/ 0 h 982403"/>
              <a:gd name="connsiteX1" fmla="*/ 12187594 w 12192000"/>
              <a:gd name="connsiteY1" fmla="*/ 4858 h 982403"/>
              <a:gd name="connsiteX2" fmla="*/ 6096000 w 12192000"/>
              <a:gd name="connsiteY2" fmla="*/ 982403 h 982403"/>
              <a:gd name="connsiteX3" fmla="*/ 4406 w 12192000"/>
              <a:gd name="connsiteY3" fmla="*/ 4858 h 982403"/>
              <a:gd name="connsiteX4" fmla="*/ 0 w 12192000"/>
              <a:gd name="connsiteY4" fmla="*/ 0 h 982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982403">
                <a:moveTo>
                  <a:pt x="12192000" y="0"/>
                </a:moveTo>
                <a:lnTo>
                  <a:pt x="12187594" y="4858"/>
                </a:lnTo>
                <a:cubicBezTo>
                  <a:pt x="11607796" y="562742"/>
                  <a:pt x="9100804" y="982403"/>
                  <a:pt x="6096000" y="982403"/>
                </a:cubicBezTo>
                <a:cubicBezTo>
                  <a:pt x="3091196" y="982403"/>
                  <a:pt x="584204" y="562742"/>
                  <a:pt x="4406" y="48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118" name="直接连接符 117">
            <a:extLst>
              <a:ext uri="{FF2B5EF4-FFF2-40B4-BE49-F238E27FC236}">
                <a16:creationId xmlns:a16="http://schemas.microsoft.com/office/drawing/2014/main" id="{209E81C1-449E-4E30-B8BD-2301C6CC8E1A}"/>
              </a:ext>
            </a:extLst>
          </p:cNvPr>
          <p:cNvCxnSpPr>
            <a:cxnSpLocks/>
          </p:cNvCxnSpPr>
          <p:nvPr userDrawn="1"/>
        </p:nvCxnSpPr>
        <p:spPr>
          <a:xfrm>
            <a:off x="2032000" y="4786553"/>
            <a:ext cx="0" cy="68478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接连接符 118">
            <a:extLst>
              <a:ext uri="{FF2B5EF4-FFF2-40B4-BE49-F238E27FC236}">
                <a16:creationId xmlns:a16="http://schemas.microsoft.com/office/drawing/2014/main" id="{54934106-C929-48D7-A1F8-9719ECAC9B56}"/>
              </a:ext>
            </a:extLst>
          </p:cNvPr>
          <p:cNvCxnSpPr>
            <a:cxnSpLocks/>
          </p:cNvCxnSpPr>
          <p:nvPr userDrawn="1"/>
        </p:nvCxnSpPr>
        <p:spPr>
          <a:xfrm>
            <a:off x="4086352" y="4542713"/>
            <a:ext cx="0" cy="68478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连接符 119">
            <a:extLst>
              <a:ext uri="{FF2B5EF4-FFF2-40B4-BE49-F238E27FC236}">
                <a16:creationId xmlns:a16="http://schemas.microsoft.com/office/drawing/2014/main" id="{5CBB6994-9624-4BFF-B871-B9F7E91E4016}"/>
              </a:ext>
            </a:extLst>
          </p:cNvPr>
          <p:cNvCxnSpPr>
            <a:cxnSpLocks/>
          </p:cNvCxnSpPr>
          <p:nvPr userDrawn="1"/>
        </p:nvCxnSpPr>
        <p:spPr>
          <a:xfrm>
            <a:off x="6104128" y="4469561"/>
            <a:ext cx="0" cy="68478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接连接符 120">
            <a:extLst>
              <a:ext uri="{FF2B5EF4-FFF2-40B4-BE49-F238E27FC236}">
                <a16:creationId xmlns:a16="http://schemas.microsoft.com/office/drawing/2014/main" id="{28A57440-BC9B-4D39-AF65-59B137F48C94}"/>
              </a:ext>
            </a:extLst>
          </p:cNvPr>
          <p:cNvCxnSpPr>
            <a:cxnSpLocks/>
          </p:cNvCxnSpPr>
          <p:nvPr userDrawn="1"/>
        </p:nvCxnSpPr>
        <p:spPr>
          <a:xfrm>
            <a:off x="8128000" y="4548809"/>
            <a:ext cx="0" cy="68478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直接连接符 121">
            <a:extLst>
              <a:ext uri="{FF2B5EF4-FFF2-40B4-BE49-F238E27FC236}">
                <a16:creationId xmlns:a16="http://schemas.microsoft.com/office/drawing/2014/main" id="{86CD9C50-475D-4B72-9310-446C25551072}"/>
              </a:ext>
            </a:extLst>
          </p:cNvPr>
          <p:cNvCxnSpPr>
            <a:cxnSpLocks/>
          </p:cNvCxnSpPr>
          <p:nvPr userDrawn="1"/>
        </p:nvCxnSpPr>
        <p:spPr>
          <a:xfrm>
            <a:off x="10145643" y="4817166"/>
            <a:ext cx="0" cy="68478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任意多边形: 形状 122">
            <a:extLst>
              <a:ext uri="{FF2B5EF4-FFF2-40B4-BE49-F238E27FC236}">
                <a16:creationId xmlns:a16="http://schemas.microsoft.com/office/drawing/2014/main" id="{577C38F8-9CE8-4E43-B85A-83D4D7FC098E}"/>
              </a:ext>
            </a:extLst>
          </p:cNvPr>
          <p:cNvSpPr/>
          <p:nvPr userDrawn="1"/>
        </p:nvSpPr>
        <p:spPr>
          <a:xfrm flipV="1">
            <a:off x="0" y="5319551"/>
            <a:ext cx="12192000" cy="1128238"/>
          </a:xfrm>
          <a:custGeom>
            <a:avLst/>
            <a:gdLst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" fmla="*/ 0 w 12192000"/>
              <a:gd name="connsiteY0" fmla="*/ 4660323 h 4739944"/>
              <a:gd name="connsiteX1" fmla="*/ 7260 w 12192000"/>
              <a:gd name="connsiteY1" fmla="*/ 4660323 h 4739944"/>
              <a:gd name="connsiteX2" fmla="*/ 157626 w 12192000"/>
              <a:gd name="connsiteY2" fmla="*/ 4545180 h 4739944"/>
              <a:gd name="connsiteX3" fmla="*/ 6096000 w 12192000"/>
              <a:gd name="connsiteY3" fmla="*/ 3684963 h 4739944"/>
              <a:gd name="connsiteX4" fmla="*/ 12034375 w 12192000"/>
              <a:gd name="connsiteY4" fmla="*/ 4545180 h 4739944"/>
              <a:gd name="connsiteX5" fmla="*/ 12184741 w 12192000"/>
              <a:gd name="connsiteY5" fmla="*/ 4660323 h 4739944"/>
              <a:gd name="connsiteX6" fmla="*/ 12192000 w 12192000"/>
              <a:gd name="connsiteY6" fmla="*/ 4660323 h 4739944"/>
              <a:gd name="connsiteX7" fmla="*/ 12192000 w 12192000"/>
              <a:gd name="connsiteY7" fmla="*/ 0 h 4739944"/>
              <a:gd name="connsiteX8" fmla="*/ 12187594 w 12192000"/>
              <a:gd name="connsiteY8" fmla="*/ 4858 h 4739944"/>
              <a:gd name="connsiteX9" fmla="*/ 6096000 w 12192000"/>
              <a:gd name="connsiteY9" fmla="*/ 982403 h 4739944"/>
              <a:gd name="connsiteX10" fmla="*/ 4406 w 12192000"/>
              <a:gd name="connsiteY10" fmla="*/ 4858 h 4739944"/>
              <a:gd name="connsiteX11" fmla="*/ 0 w 12192000"/>
              <a:gd name="connsiteY11" fmla="*/ 0 h 4739944"/>
              <a:gd name="connsiteX12" fmla="*/ 91440 w 12192000"/>
              <a:gd name="connsiteY12" fmla="*/ 4739944 h 4739944"/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6096000 w 12192000"/>
              <a:gd name="connsiteY2" fmla="*/ 3684963 h 4660323"/>
              <a:gd name="connsiteX3" fmla="*/ 12034375 w 12192000"/>
              <a:gd name="connsiteY3" fmla="*/ 4545180 h 4660323"/>
              <a:gd name="connsiteX4" fmla="*/ 12184741 w 12192000"/>
              <a:gd name="connsiteY4" fmla="*/ 4660323 h 4660323"/>
              <a:gd name="connsiteX5" fmla="*/ 12192000 w 12192000"/>
              <a:gd name="connsiteY5" fmla="*/ 4660323 h 4660323"/>
              <a:gd name="connsiteX6" fmla="*/ 12192000 w 12192000"/>
              <a:gd name="connsiteY6" fmla="*/ 0 h 4660323"/>
              <a:gd name="connsiteX7" fmla="*/ 12187594 w 12192000"/>
              <a:gd name="connsiteY7" fmla="*/ 4858 h 4660323"/>
              <a:gd name="connsiteX8" fmla="*/ 6096000 w 12192000"/>
              <a:gd name="connsiteY8" fmla="*/ 982403 h 4660323"/>
              <a:gd name="connsiteX9" fmla="*/ 4406 w 12192000"/>
              <a:gd name="connsiteY9" fmla="*/ 4858 h 4660323"/>
              <a:gd name="connsiteX10" fmla="*/ 0 w 12192000"/>
              <a:gd name="connsiteY10" fmla="*/ 0 h 4660323"/>
              <a:gd name="connsiteX0" fmla="*/ 0 w 12192000"/>
              <a:gd name="connsiteY0" fmla="*/ 4660323 h 4660323"/>
              <a:gd name="connsiteX1" fmla="*/ 6096000 w 12192000"/>
              <a:gd name="connsiteY1" fmla="*/ 3684963 h 4660323"/>
              <a:gd name="connsiteX2" fmla="*/ 12034375 w 12192000"/>
              <a:gd name="connsiteY2" fmla="*/ 4545180 h 4660323"/>
              <a:gd name="connsiteX3" fmla="*/ 12184741 w 12192000"/>
              <a:gd name="connsiteY3" fmla="*/ 4660323 h 4660323"/>
              <a:gd name="connsiteX4" fmla="*/ 12192000 w 12192000"/>
              <a:gd name="connsiteY4" fmla="*/ 4660323 h 4660323"/>
              <a:gd name="connsiteX5" fmla="*/ 12192000 w 12192000"/>
              <a:gd name="connsiteY5" fmla="*/ 0 h 4660323"/>
              <a:gd name="connsiteX6" fmla="*/ 12187594 w 12192000"/>
              <a:gd name="connsiteY6" fmla="*/ 4858 h 4660323"/>
              <a:gd name="connsiteX7" fmla="*/ 6096000 w 12192000"/>
              <a:gd name="connsiteY7" fmla="*/ 982403 h 4660323"/>
              <a:gd name="connsiteX8" fmla="*/ 4406 w 12192000"/>
              <a:gd name="connsiteY8" fmla="*/ 4858 h 4660323"/>
              <a:gd name="connsiteX9" fmla="*/ 0 w 12192000"/>
              <a:gd name="connsiteY9" fmla="*/ 0 h 4660323"/>
              <a:gd name="connsiteX0" fmla="*/ 6096000 w 12192000"/>
              <a:gd name="connsiteY0" fmla="*/ 3684963 h 4660323"/>
              <a:gd name="connsiteX1" fmla="*/ 12034375 w 12192000"/>
              <a:gd name="connsiteY1" fmla="*/ 4545180 h 4660323"/>
              <a:gd name="connsiteX2" fmla="*/ 12184741 w 12192000"/>
              <a:gd name="connsiteY2" fmla="*/ 4660323 h 4660323"/>
              <a:gd name="connsiteX3" fmla="*/ 12192000 w 12192000"/>
              <a:gd name="connsiteY3" fmla="*/ 4660323 h 4660323"/>
              <a:gd name="connsiteX4" fmla="*/ 12192000 w 12192000"/>
              <a:gd name="connsiteY4" fmla="*/ 0 h 4660323"/>
              <a:gd name="connsiteX5" fmla="*/ 12187594 w 12192000"/>
              <a:gd name="connsiteY5" fmla="*/ 4858 h 4660323"/>
              <a:gd name="connsiteX6" fmla="*/ 6096000 w 12192000"/>
              <a:gd name="connsiteY6" fmla="*/ 982403 h 4660323"/>
              <a:gd name="connsiteX7" fmla="*/ 4406 w 12192000"/>
              <a:gd name="connsiteY7" fmla="*/ 4858 h 4660323"/>
              <a:gd name="connsiteX8" fmla="*/ 0 w 12192000"/>
              <a:gd name="connsiteY8" fmla="*/ 0 h 4660323"/>
              <a:gd name="connsiteX0" fmla="*/ 12034375 w 12192000"/>
              <a:gd name="connsiteY0" fmla="*/ 4545180 h 4660323"/>
              <a:gd name="connsiteX1" fmla="*/ 12184741 w 12192000"/>
              <a:gd name="connsiteY1" fmla="*/ 4660323 h 4660323"/>
              <a:gd name="connsiteX2" fmla="*/ 12192000 w 12192000"/>
              <a:gd name="connsiteY2" fmla="*/ 4660323 h 4660323"/>
              <a:gd name="connsiteX3" fmla="*/ 12192000 w 12192000"/>
              <a:gd name="connsiteY3" fmla="*/ 0 h 4660323"/>
              <a:gd name="connsiteX4" fmla="*/ 12187594 w 12192000"/>
              <a:gd name="connsiteY4" fmla="*/ 4858 h 4660323"/>
              <a:gd name="connsiteX5" fmla="*/ 6096000 w 12192000"/>
              <a:gd name="connsiteY5" fmla="*/ 982403 h 4660323"/>
              <a:gd name="connsiteX6" fmla="*/ 4406 w 12192000"/>
              <a:gd name="connsiteY6" fmla="*/ 4858 h 4660323"/>
              <a:gd name="connsiteX7" fmla="*/ 0 w 12192000"/>
              <a:gd name="connsiteY7" fmla="*/ 0 h 4660323"/>
              <a:gd name="connsiteX0" fmla="*/ 12184741 w 12192000"/>
              <a:gd name="connsiteY0" fmla="*/ 4660323 h 4660323"/>
              <a:gd name="connsiteX1" fmla="*/ 12192000 w 12192000"/>
              <a:gd name="connsiteY1" fmla="*/ 4660323 h 4660323"/>
              <a:gd name="connsiteX2" fmla="*/ 12192000 w 12192000"/>
              <a:gd name="connsiteY2" fmla="*/ 0 h 4660323"/>
              <a:gd name="connsiteX3" fmla="*/ 12187594 w 12192000"/>
              <a:gd name="connsiteY3" fmla="*/ 4858 h 4660323"/>
              <a:gd name="connsiteX4" fmla="*/ 6096000 w 12192000"/>
              <a:gd name="connsiteY4" fmla="*/ 982403 h 4660323"/>
              <a:gd name="connsiteX5" fmla="*/ 4406 w 12192000"/>
              <a:gd name="connsiteY5" fmla="*/ 4858 h 4660323"/>
              <a:gd name="connsiteX6" fmla="*/ 0 w 12192000"/>
              <a:gd name="connsiteY6" fmla="*/ 0 h 4660323"/>
              <a:gd name="connsiteX0" fmla="*/ 12184741 w 12192000"/>
              <a:gd name="connsiteY0" fmla="*/ 4660323 h 4660323"/>
              <a:gd name="connsiteX1" fmla="*/ 12192000 w 12192000"/>
              <a:gd name="connsiteY1" fmla="*/ 0 h 4660323"/>
              <a:gd name="connsiteX2" fmla="*/ 12187594 w 12192000"/>
              <a:gd name="connsiteY2" fmla="*/ 4858 h 4660323"/>
              <a:gd name="connsiteX3" fmla="*/ 6096000 w 12192000"/>
              <a:gd name="connsiteY3" fmla="*/ 982403 h 4660323"/>
              <a:gd name="connsiteX4" fmla="*/ 4406 w 12192000"/>
              <a:gd name="connsiteY4" fmla="*/ 4858 h 4660323"/>
              <a:gd name="connsiteX5" fmla="*/ 0 w 12192000"/>
              <a:gd name="connsiteY5" fmla="*/ 0 h 4660323"/>
              <a:gd name="connsiteX0" fmla="*/ 12192000 w 12192000"/>
              <a:gd name="connsiteY0" fmla="*/ 0 h 982403"/>
              <a:gd name="connsiteX1" fmla="*/ 12187594 w 12192000"/>
              <a:gd name="connsiteY1" fmla="*/ 4858 h 982403"/>
              <a:gd name="connsiteX2" fmla="*/ 6096000 w 12192000"/>
              <a:gd name="connsiteY2" fmla="*/ 982403 h 982403"/>
              <a:gd name="connsiteX3" fmla="*/ 4406 w 12192000"/>
              <a:gd name="connsiteY3" fmla="*/ 4858 h 982403"/>
              <a:gd name="connsiteX4" fmla="*/ 0 w 12192000"/>
              <a:gd name="connsiteY4" fmla="*/ 0 h 982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982403">
                <a:moveTo>
                  <a:pt x="12192000" y="0"/>
                </a:moveTo>
                <a:lnTo>
                  <a:pt x="12187594" y="4858"/>
                </a:lnTo>
                <a:cubicBezTo>
                  <a:pt x="11607796" y="562742"/>
                  <a:pt x="9100804" y="982403"/>
                  <a:pt x="6096000" y="982403"/>
                </a:cubicBezTo>
                <a:cubicBezTo>
                  <a:pt x="3091196" y="982403"/>
                  <a:pt x="584204" y="562742"/>
                  <a:pt x="4406" y="48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4" name="任意多边形: 形状 123">
            <a:extLst>
              <a:ext uri="{FF2B5EF4-FFF2-40B4-BE49-F238E27FC236}">
                <a16:creationId xmlns:a16="http://schemas.microsoft.com/office/drawing/2014/main" id="{C0AF6884-737F-4527-887C-6EA9DE84B175}"/>
              </a:ext>
            </a:extLst>
          </p:cNvPr>
          <p:cNvSpPr/>
          <p:nvPr userDrawn="1"/>
        </p:nvSpPr>
        <p:spPr>
          <a:xfrm>
            <a:off x="0" y="899951"/>
            <a:ext cx="12192000" cy="1128238"/>
          </a:xfrm>
          <a:custGeom>
            <a:avLst/>
            <a:gdLst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" fmla="*/ 0 w 12192000"/>
              <a:gd name="connsiteY0" fmla="*/ 4660323 h 4739944"/>
              <a:gd name="connsiteX1" fmla="*/ 7260 w 12192000"/>
              <a:gd name="connsiteY1" fmla="*/ 4660323 h 4739944"/>
              <a:gd name="connsiteX2" fmla="*/ 157626 w 12192000"/>
              <a:gd name="connsiteY2" fmla="*/ 4545180 h 4739944"/>
              <a:gd name="connsiteX3" fmla="*/ 6096000 w 12192000"/>
              <a:gd name="connsiteY3" fmla="*/ 3684963 h 4739944"/>
              <a:gd name="connsiteX4" fmla="*/ 12034375 w 12192000"/>
              <a:gd name="connsiteY4" fmla="*/ 4545180 h 4739944"/>
              <a:gd name="connsiteX5" fmla="*/ 12184741 w 12192000"/>
              <a:gd name="connsiteY5" fmla="*/ 4660323 h 4739944"/>
              <a:gd name="connsiteX6" fmla="*/ 12192000 w 12192000"/>
              <a:gd name="connsiteY6" fmla="*/ 4660323 h 4739944"/>
              <a:gd name="connsiteX7" fmla="*/ 12192000 w 12192000"/>
              <a:gd name="connsiteY7" fmla="*/ 0 h 4739944"/>
              <a:gd name="connsiteX8" fmla="*/ 12187594 w 12192000"/>
              <a:gd name="connsiteY8" fmla="*/ 4858 h 4739944"/>
              <a:gd name="connsiteX9" fmla="*/ 6096000 w 12192000"/>
              <a:gd name="connsiteY9" fmla="*/ 982403 h 4739944"/>
              <a:gd name="connsiteX10" fmla="*/ 4406 w 12192000"/>
              <a:gd name="connsiteY10" fmla="*/ 4858 h 4739944"/>
              <a:gd name="connsiteX11" fmla="*/ 0 w 12192000"/>
              <a:gd name="connsiteY11" fmla="*/ 0 h 4739944"/>
              <a:gd name="connsiteX12" fmla="*/ 91440 w 12192000"/>
              <a:gd name="connsiteY12" fmla="*/ 4739944 h 4739944"/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6096000 w 12192000"/>
              <a:gd name="connsiteY2" fmla="*/ 3684963 h 4660323"/>
              <a:gd name="connsiteX3" fmla="*/ 12034375 w 12192000"/>
              <a:gd name="connsiteY3" fmla="*/ 4545180 h 4660323"/>
              <a:gd name="connsiteX4" fmla="*/ 12184741 w 12192000"/>
              <a:gd name="connsiteY4" fmla="*/ 4660323 h 4660323"/>
              <a:gd name="connsiteX5" fmla="*/ 12192000 w 12192000"/>
              <a:gd name="connsiteY5" fmla="*/ 4660323 h 4660323"/>
              <a:gd name="connsiteX6" fmla="*/ 12192000 w 12192000"/>
              <a:gd name="connsiteY6" fmla="*/ 0 h 4660323"/>
              <a:gd name="connsiteX7" fmla="*/ 12187594 w 12192000"/>
              <a:gd name="connsiteY7" fmla="*/ 4858 h 4660323"/>
              <a:gd name="connsiteX8" fmla="*/ 6096000 w 12192000"/>
              <a:gd name="connsiteY8" fmla="*/ 982403 h 4660323"/>
              <a:gd name="connsiteX9" fmla="*/ 4406 w 12192000"/>
              <a:gd name="connsiteY9" fmla="*/ 4858 h 4660323"/>
              <a:gd name="connsiteX10" fmla="*/ 0 w 12192000"/>
              <a:gd name="connsiteY10" fmla="*/ 0 h 4660323"/>
              <a:gd name="connsiteX0" fmla="*/ 0 w 12192000"/>
              <a:gd name="connsiteY0" fmla="*/ 4660323 h 4660323"/>
              <a:gd name="connsiteX1" fmla="*/ 6096000 w 12192000"/>
              <a:gd name="connsiteY1" fmla="*/ 3684963 h 4660323"/>
              <a:gd name="connsiteX2" fmla="*/ 12034375 w 12192000"/>
              <a:gd name="connsiteY2" fmla="*/ 4545180 h 4660323"/>
              <a:gd name="connsiteX3" fmla="*/ 12184741 w 12192000"/>
              <a:gd name="connsiteY3" fmla="*/ 4660323 h 4660323"/>
              <a:gd name="connsiteX4" fmla="*/ 12192000 w 12192000"/>
              <a:gd name="connsiteY4" fmla="*/ 4660323 h 4660323"/>
              <a:gd name="connsiteX5" fmla="*/ 12192000 w 12192000"/>
              <a:gd name="connsiteY5" fmla="*/ 0 h 4660323"/>
              <a:gd name="connsiteX6" fmla="*/ 12187594 w 12192000"/>
              <a:gd name="connsiteY6" fmla="*/ 4858 h 4660323"/>
              <a:gd name="connsiteX7" fmla="*/ 6096000 w 12192000"/>
              <a:gd name="connsiteY7" fmla="*/ 982403 h 4660323"/>
              <a:gd name="connsiteX8" fmla="*/ 4406 w 12192000"/>
              <a:gd name="connsiteY8" fmla="*/ 4858 h 4660323"/>
              <a:gd name="connsiteX9" fmla="*/ 0 w 12192000"/>
              <a:gd name="connsiteY9" fmla="*/ 0 h 4660323"/>
              <a:gd name="connsiteX0" fmla="*/ 6096000 w 12192000"/>
              <a:gd name="connsiteY0" fmla="*/ 3684963 h 4660323"/>
              <a:gd name="connsiteX1" fmla="*/ 12034375 w 12192000"/>
              <a:gd name="connsiteY1" fmla="*/ 4545180 h 4660323"/>
              <a:gd name="connsiteX2" fmla="*/ 12184741 w 12192000"/>
              <a:gd name="connsiteY2" fmla="*/ 4660323 h 4660323"/>
              <a:gd name="connsiteX3" fmla="*/ 12192000 w 12192000"/>
              <a:gd name="connsiteY3" fmla="*/ 4660323 h 4660323"/>
              <a:gd name="connsiteX4" fmla="*/ 12192000 w 12192000"/>
              <a:gd name="connsiteY4" fmla="*/ 0 h 4660323"/>
              <a:gd name="connsiteX5" fmla="*/ 12187594 w 12192000"/>
              <a:gd name="connsiteY5" fmla="*/ 4858 h 4660323"/>
              <a:gd name="connsiteX6" fmla="*/ 6096000 w 12192000"/>
              <a:gd name="connsiteY6" fmla="*/ 982403 h 4660323"/>
              <a:gd name="connsiteX7" fmla="*/ 4406 w 12192000"/>
              <a:gd name="connsiteY7" fmla="*/ 4858 h 4660323"/>
              <a:gd name="connsiteX8" fmla="*/ 0 w 12192000"/>
              <a:gd name="connsiteY8" fmla="*/ 0 h 4660323"/>
              <a:gd name="connsiteX0" fmla="*/ 12034375 w 12192000"/>
              <a:gd name="connsiteY0" fmla="*/ 4545180 h 4660323"/>
              <a:gd name="connsiteX1" fmla="*/ 12184741 w 12192000"/>
              <a:gd name="connsiteY1" fmla="*/ 4660323 h 4660323"/>
              <a:gd name="connsiteX2" fmla="*/ 12192000 w 12192000"/>
              <a:gd name="connsiteY2" fmla="*/ 4660323 h 4660323"/>
              <a:gd name="connsiteX3" fmla="*/ 12192000 w 12192000"/>
              <a:gd name="connsiteY3" fmla="*/ 0 h 4660323"/>
              <a:gd name="connsiteX4" fmla="*/ 12187594 w 12192000"/>
              <a:gd name="connsiteY4" fmla="*/ 4858 h 4660323"/>
              <a:gd name="connsiteX5" fmla="*/ 6096000 w 12192000"/>
              <a:gd name="connsiteY5" fmla="*/ 982403 h 4660323"/>
              <a:gd name="connsiteX6" fmla="*/ 4406 w 12192000"/>
              <a:gd name="connsiteY6" fmla="*/ 4858 h 4660323"/>
              <a:gd name="connsiteX7" fmla="*/ 0 w 12192000"/>
              <a:gd name="connsiteY7" fmla="*/ 0 h 4660323"/>
              <a:gd name="connsiteX0" fmla="*/ 12184741 w 12192000"/>
              <a:gd name="connsiteY0" fmla="*/ 4660323 h 4660323"/>
              <a:gd name="connsiteX1" fmla="*/ 12192000 w 12192000"/>
              <a:gd name="connsiteY1" fmla="*/ 4660323 h 4660323"/>
              <a:gd name="connsiteX2" fmla="*/ 12192000 w 12192000"/>
              <a:gd name="connsiteY2" fmla="*/ 0 h 4660323"/>
              <a:gd name="connsiteX3" fmla="*/ 12187594 w 12192000"/>
              <a:gd name="connsiteY3" fmla="*/ 4858 h 4660323"/>
              <a:gd name="connsiteX4" fmla="*/ 6096000 w 12192000"/>
              <a:gd name="connsiteY4" fmla="*/ 982403 h 4660323"/>
              <a:gd name="connsiteX5" fmla="*/ 4406 w 12192000"/>
              <a:gd name="connsiteY5" fmla="*/ 4858 h 4660323"/>
              <a:gd name="connsiteX6" fmla="*/ 0 w 12192000"/>
              <a:gd name="connsiteY6" fmla="*/ 0 h 4660323"/>
              <a:gd name="connsiteX0" fmla="*/ 12184741 w 12192000"/>
              <a:gd name="connsiteY0" fmla="*/ 4660323 h 4660323"/>
              <a:gd name="connsiteX1" fmla="*/ 12192000 w 12192000"/>
              <a:gd name="connsiteY1" fmla="*/ 0 h 4660323"/>
              <a:gd name="connsiteX2" fmla="*/ 12187594 w 12192000"/>
              <a:gd name="connsiteY2" fmla="*/ 4858 h 4660323"/>
              <a:gd name="connsiteX3" fmla="*/ 6096000 w 12192000"/>
              <a:gd name="connsiteY3" fmla="*/ 982403 h 4660323"/>
              <a:gd name="connsiteX4" fmla="*/ 4406 w 12192000"/>
              <a:gd name="connsiteY4" fmla="*/ 4858 h 4660323"/>
              <a:gd name="connsiteX5" fmla="*/ 0 w 12192000"/>
              <a:gd name="connsiteY5" fmla="*/ 0 h 4660323"/>
              <a:gd name="connsiteX0" fmla="*/ 12192000 w 12192000"/>
              <a:gd name="connsiteY0" fmla="*/ 0 h 982403"/>
              <a:gd name="connsiteX1" fmla="*/ 12187594 w 12192000"/>
              <a:gd name="connsiteY1" fmla="*/ 4858 h 982403"/>
              <a:gd name="connsiteX2" fmla="*/ 6096000 w 12192000"/>
              <a:gd name="connsiteY2" fmla="*/ 982403 h 982403"/>
              <a:gd name="connsiteX3" fmla="*/ 4406 w 12192000"/>
              <a:gd name="connsiteY3" fmla="*/ 4858 h 982403"/>
              <a:gd name="connsiteX4" fmla="*/ 0 w 12192000"/>
              <a:gd name="connsiteY4" fmla="*/ 0 h 982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982403">
                <a:moveTo>
                  <a:pt x="12192000" y="0"/>
                </a:moveTo>
                <a:lnTo>
                  <a:pt x="12187594" y="4858"/>
                </a:lnTo>
                <a:cubicBezTo>
                  <a:pt x="11607796" y="562742"/>
                  <a:pt x="9100804" y="982403"/>
                  <a:pt x="6096000" y="982403"/>
                </a:cubicBezTo>
                <a:cubicBezTo>
                  <a:pt x="3091196" y="982403"/>
                  <a:pt x="584204" y="562742"/>
                  <a:pt x="4406" y="48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5" name="任意多边形: 形状 124">
            <a:extLst>
              <a:ext uri="{FF2B5EF4-FFF2-40B4-BE49-F238E27FC236}">
                <a16:creationId xmlns:a16="http://schemas.microsoft.com/office/drawing/2014/main" id="{D953E8C2-4FCA-483A-B4B2-A9984EC6C80C}"/>
              </a:ext>
            </a:extLst>
          </p:cNvPr>
          <p:cNvSpPr/>
          <p:nvPr userDrawn="1"/>
        </p:nvSpPr>
        <p:spPr>
          <a:xfrm>
            <a:off x="0" y="788191"/>
            <a:ext cx="12192000" cy="1128238"/>
          </a:xfrm>
          <a:custGeom>
            <a:avLst/>
            <a:gdLst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" fmla="*/ 0 w 12192000"/>
              <a:gd name="connsiteY0" fmla="*/ 4660323 h 4739944"/>
              <a:gd name="connsiteX1" fmla="*/ 7260 w 12192000"/>
              <a:gd name="connsiteY1" fmla="*/ 4660323 h 4739944"/>
              <a:gd name="connsiteX2" fmla="*/ 157626 w 12192000"/>
              <a:gd name="connsiteY2" fmla="*/ 4545180 h 4739944"/>
              <a:gd name="connsiteX3" fmla="*/ 6096000 w 12192000"/>
              <a:gd name="connsiteY3" fmla="*/ 3684963 h 4739944"/>
              <a:gd name="connsiteX4" fmla="*/ 12034375 w 12192000"/>
              <a:gd name="connsiteY4" fmla="*/ 4545180 h 4739944"/>
              <a:gd name="connsiteX5" fmla="*/ 12184741 w 12192000"/>
              <a:gd name="connsiteY5" fmla="*/ 4660323 h 4739944"/>
              <a:gd name="connsiteX6" fmla="*/ 12192000 w 12192000"/>
              <a:gd name="connsiteY6" fmla="*/ 4660323 h 4739944"/>
              <a:gd name="connsiteX7" fmla="*/ 12192000 w 12192000"/>
              <a:gd name="connsiteY7" fmla="*/ 0 h 4739944"/>
              <a:gd name="connsiteX8" fmla="*/ 12187594 w 12192000"/>
              <a:gd name="connsiteY8" fmla="*/ 4858 h 4739944"/>
              <a:gd name="connsiteX9" fmla="*/ 6096000 w 12192000"/>
              <a:gd name="connsiteY9" fmla="*/ 982403 h 4739944"/>
              <a:gd name="connsiteX10" fmla="*/ 4406 w 12192000"/>
              <a:gd name="connsiteY10" fmla="*/ 4858 h 4739944"/>
              <a:gd name="connsiteX11" fmla="*/ 0 w 12192000"/>
              <a:gd name="connsiteY11" fmla="*/ 0 h 4739944"/>
              <a:gd name="connsiteX12" fmla="*/ 91440 w 12192000"/>
              <a:gd name="connsiteY12" fmla="*/ 4739944 h 4739944"/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6096000 w 12192000"/>
              <a:gd name="connsiteY2" fmla="*/ 3684963 h 4660323"/>
              <a:gd name="connsiteX3" fmla="*/ 12034375 w 12192000"/>
              <a:gd name="connsiteY3" fmla="*/ 4545180 h 4660323"/>
              <a:gd name="connsiteX4" fmla="*/ 12184741 w 12192000"/>
              <a:gd name="connsiteY4" fmla="*/ 4660323 h 4660323"/>
              <a:gd name="connsiteX5" fmla="*/ 12192000 w 12192000"/>
              <a:gd name="connsiteY5" fmla="*/ 4660323 h 4660323"/>
              <a:gd name="connsiteX6" fmla="*/ 12192000 w 12192000"/>
              <a:gd name="connsiteY6" fmla="*/ 0 h 4660323"/>
              <a:gd name="connsiteX7" fmla="*/ 12187594 w 12192000"/>
              <a:gd name="connsiteY7" fmla="*/ 4858 h 4660323"/>
              <a:gd name="connsiteX8" fmla="*/ 6096000 w 12192000"/>
              <a:gd name="connsiteY8" fmla="*/ 982403 h 4660323"/>
              <a:gd name="connsiteX9" fmla="*/ 4406 w 12192000"/>
              <a:gd name="connsiteY9" fmla="*/ 4858 h 4660323"/>
              <a:gd name="connsiteX10" fmla="*/ 0 w 12192000"/>
              <a:gd name="connsiteY10" fmla="*/ 0 h 4660323"/>
              <a:gd name="connsiteX0" fmla="*/ 0 w 12192000"/>
              <a:gd name="connsiteY0" fmla="*/ 4660323 h 4660323"/>
              <a:gd name="connsiteX1" fmla="*/ 6096000 w 12192000"/>
              <a:gd name="connsiteY1" fmla="*/ 3684963 h 4660323"/>
              <a:gd name="connsiteX2" fmla="*/ 12034375 w 12192000"/>
              <a:gd name="connsiteY2" fmla="*/ 4545180 h 4660323"/>
              <a:gd name="connsiteX3" fmla="*/ 12184741 w 12192000"/>
              <a:gd name="connsiteY3" fmla="*/ 4660323 h 4660323"/>
              <a:gd name="connsiteX4" fmla="*/ 12192000 w 12192000"/>
              <a:gd name="connsiteY4" fmla="*/ 4660323 h 4660323"/>
              <a:gd name="connsiteX5" fmla="*/ 12192000 w 12192000"/>
              <a:gd name="connsiteY5" fmla="*/ 0 h 4660323"/>
              <a:gd name="connsiteX6" fmla="*/ 12187594 w 12192000"/>
              <a:gd name="connsiteY6" fmla="*/ 4858 h 4660323"/>
              <a:gd name="connsiteX7" fmla="*/ 6096000 w 12192000"/>
              <a:gd name="connsiteY7" fmla="*/ 982403 h 4660323"/>
              <a:gd name="connsiteX8" fmla="*/ 4406 w 12192000"/>
              <a:gd name="connsiteY8" fmla="*/ 4858 h 4660323"/>
              <a:gd name="connsiteX9" fmla="*/ 0 w 12192000"/>
              <a:gd name="connsiteY9" fmla="*/ 0 h 4660323"/>
              <a:gd name="connsiteX0" fmla="*/ 6096000 w 12192000"/>
              <a:gd name="connsiteY0" fmla="*/ 3684963 h 4660323"/>
              <a:gd name="connsiteX1" fmla="*/ 12034375 w 12192000"/>
              <a:gd name="connsiteY1" fmla="*/ 4545180 h 4660323"/>
              <a:gd name="connsiteX2" fmla="*/ 12184741 w 12192000"/>
              <a:gd name="connsiteY2" fmla="*/ 4660323 h 4660323"/>
              <a:gd name="connsiteX3" fmla="*/ 12192000 w 12192000"/>
              <a:gd name="connsiteY3" fmla="*/ 4660323 h 4660323"/>
              <a:gd name="connsiteX4" fmla="*/ 12192000 w 12192000"/>
              <a:gd name="connsiteY4" fmla="*/ 0 h 4660323"/>
              <a:gd name="connsiteX5" fmla="*/ 12187594 w 12192000"/>
              <a:gd name="connsiteY5" fmla="*/ 4858 h 4660323"/>
              <a:gd name="connsiteX6" fmla="*/ 6096000 w 12192000"/>
              <a:gd name="connsiteY6" fmla="*/ 982403 h 4660323"/>
              <a:gd name="connsiteX7" fmla="*/ 4406 w 12192000"/>
              <a:gd name="connsiteY7" fmla="*/ 4858 h 4660323"/>
              <a:gd name="connsiteX8" fmla="*/ 0 w 12192000"/>
              <a:gd name="connsiteY8" fmla="*/ 0 h 4660323"/>
              <a:gd name="connsiteX0" fmla="*/ 12034375 w 12192000"/>
              <a:gd name="connsiteY0" fmla="*/ 4545180 h 4660323"/>
              <a:gd name="connsiteX1" fmla="*/ 12184741 w 12192000"/>
              <a:gd name="connsiteY1" fmla="*/ 4660323 h 4660323"/>
              <a:gd name="connsiteX2" fmla="*/ 12192000 w 12192000"/>
              <a:gd name="connsiteY2" fmla="*/ 4660323 h 4660323"/>
              <a:gd name="connsiteX3" fmla="*/ 12192000 w 12192000"/>
              <a:gd name="connsiteY3" fmla="*/ 0 h 4660323"/>
              <a:gd name="connsiteX4" fmla="*/ 12187594 w 12192000"/>
              <a:gd name="connsiteY4" fmla="*/ 4858 h 4660323"/>
              <a:gd name="connsiteX5" fmla="*/ 6096000 w 12192000"/>
              <a:gd name="connsiteY5" fmla="*/ 982403 h 4660323"/>
              <a:gd name="connsiteX6" fmla="*/ 4406 w 12192000"/>
              <a:gd name="connsiteY6" fmla="*/ 4858 h 4660323"/>
              <a:gd name="connsiteX7" fmla="*/ 0 w 12192000"/>
              <a:gd name="connsiteY7" fmla="*/ 0 h 4660323"/>
              <a:gd name="connsiteX0" fmla="*/ 12184741 w 12192000"/>
              <a:gd name="connsiteY0" fmla="*/ 4660323 h 4660323"/>
              <a:gd name="connsiteX1" fmla="*/ 12192000 w 12192000"/>
              <a:gd name="connsiteY1" fmla="*/ 4660323 h 4660323"/>
              <a:gd name="connsiteX2" fmla="*/ 12192000 w 12192000"/>
              <a:gd name="connsiteY2" fmla="*/ 0 h 4660323"/>
              <a:gd name="connsiteX3" fmla="*/ 12187594 w 12192000"/>
              <a:gd name="connsiteY3" fmla="*/ 4858 h 4660323"/>
              <a:gd name="connsiteX4" fmla="*/ 6096000 w 12192000"/>
              <a:gd name="connsiteY4" fmla="*/ 982403 h 4660323"/>
              <a:gd name="connsiteX5" fmla="*/ 4406 w 12192000"/>
              <a:gd name="connsiteY5" fmla="*/ 4858 h 4660323"/>
              <a:gd name="connsiteX6" fmla="*/ 0 w 12192000"/>
              <a:gd name="connsiteY6" fmla="*/ 0 h 4660323"/>
              <a:gd name="connsiteX0" fmla="*/ 12184741 w 12192000"/>
              <a:gd name="connsiteY0" fmla="*/ 4660323 h 4660323"/>
              <a:gd name="connsiteX1" fmla="*/ 12192000 w 12192000"/>
              <a:gd name="connsiteY1" fmla="*/ 0 h 4660323"/>
              <a:gd name="connsiteX2" fmla="*/ 12187594 w 12192000"/>
              <a:gd name="connsiteY2" fmla="*/ 4858 h 4660323"/>
              <a:gd name="connsiteX3" fmla="*/ 6096000 w 12192000"/>
              <a:gd name="connsiteY3" fmla="*/ 982403 h 4660323"/>
              <a:gd name="connsiteX4" fmla="*/ 4406 w 12192000"/>
              <a:gd name="connsiteY4" fmla="*/ 4858 h 4660323"/>
              <a:gd name="connsiteX5" fmla="*/ 0 w 12192000"/>
              <a:gd name="connsiteY5" fmla="*/ 0 h 4660323"/>
              <a:gd name="connsiteX0" fmla="*/ 12192000 w 12192000"/>
              <a:gd name="connsiteY0" fmla="*/ 0 h 982403"/>
              <a:gd name="connsiteX1" fmla="*/ 12187594 w 12192000"/>
              <a:gd name="connsiteY1" fmla="*/ 4858 h 982403"/>
              <a:gd name="connsiteX2" fmla="*/ 6096000 w 12192000"/>
              <a:gd name="connsiteY2" fmla="*/ 982403 h 982403"/>
              <a:gd name="connsiteX3" fmla="*/ 4406 w 12192000"/>
              <a:gd name="connsiteY3" fmla="*/ 4858 h 982403"/>
              <a:gd name="connsiteX4" fmla="*/ 0 w 12192000"/>
              <a:gd name="connsiteY4" fmla="*/ 0 h 982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982403">
                <a:moveTo>
                  <a:pt x="12192000" y="0"/>
                </a:moveTo>
                <a:lnTo>
                  <a:pt x="12187594" y="4858"/>
                </a:lnTo>
                <a:cubicBezTo>
                  <a:pt x="11607796" y="562742"/>
                  <a:pt x="9100804" y="982403"/>
                  <a:pt x="6096000" y="982403"/>
                </a:cubicBezTo>
                <a:cubicBezTo>
                  <a:pt x="3091196" y="982403"/>
                  <a:pt x="584204" y="562742"/>
                  <a:pt x="4406" y="48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6" name="任意多边形: 形状 125">
            <a:extLst>
              <a:ext uri="{FF2B5EF4-FFF2-40B4-BE49-F238E27FC236}">
                <a16:creationId xmlns:a16="http://schemas.microsoft.com/office/drawing/2014/main" id="{AE4C563F-BC93-44E9-BF92-5659AFCD4DFF}"/>
              </a:ext>
            </a:extLst>
          </p:cNvPr>
          <p:cNvSpPr/>
          <p:nvPr userDrawn="1"/>
        </p:nvSpPr>
        <p:spPr>
          <a:xfrm flipV="1">
            <a:off x="0" y="5436392"/>
            <a:ext cx="12192000" cy="1128238"/>
          </a:xfrm>
          <a:custGeom>
            <a:avLst/>
            <a:gdLst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" fmla="*/ 0 w 12192000"/>
              <a:gd name="connsiteY0" fmla="*/ 4660323 h 4739944"/>
              <a:gd name="connsiteX1" fmla="*/ 7260 w 12192000"/>
              <a:gd name="connsiteY1" fmla="*/ 4660323 h 4739944"/>
              <a:gd name="connsiteX2" fmla="*/ 157626 w 12192000"/>
              <a:gd name="connsiteY2" fmla="*/ 4545180 h 4739944"/>
              <a:gd name="connsiteX3" fmla="*/ 6096000 w 12192000"/>
              <a:gd name="connsiteY3" fmla="*/ 3684963 h 4739944"/>
              <a:gd name="connsiteX4" fmla="*/ 12034375 w 12192000"/>
              <a:gd name="connsiteY4" fmla="*/ 4545180 h 4739944"/>
              <a:gd name="connsiteX5" fmla="*/ 12184741 w 12192000"/>
              <a:gd name="connsiteY5" fmla="*/ 4660323 h 4739944"/>
              <a:gd name="connsiteX6" fmla="*/ 12192000 w 12192000"/>
              <a:gd name="connsiteY6" fmla="*/ 4660323 h 4739944"/>
              <a:gd name="connsiteX7" fmla="*/ 12192000 w 12192000"/>
              <a:gd name="connsiteY7" fmla="*/ 0 h 4739944"/>
              <a:gd name="connsiteX8" fmla="*/ 12187594 w 12192000"/>
              <a:gd name="connsiteY8" fmla="*/ 4858 h 4739944"/>
              <a:gd name="connsiteX9" fmla="*/ 6096000 w 12192000"/>
              <a:gd name="connsiteY9" fmla="*/ 982403 h 4739944"/>
              <a:gd name="connsiteX10" fmla="*/ 4406 w 12192000"/>
              <a:gd name="connsiteY10" fmla="*/ 4858 h 4739944"/>
              <a:gd name="connsiteX11" fmla="*/ 0 w 12192000"/>
              <a:gd name="connsiteY11" fmla="*/ 0 h 4739944"/>
              <a:gd name="connsiteX12" fmla="*/ 91440 w 12192000"/>
              <a:gd name="connsiteY12" fmla="*/ 4739944 h 4739944"/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6096000 w 12192000"/>
              <a:gd name="connsiteY2" fmla="*/ 3684963 h 4660323"/>
              <a:gd name="connsiteX3" fmla="*/ 12034375 w 12192000"/>
              <a:gd name="connsiteY3" fmla="*/ 4545180 h 4660323"/>
              <a:gd name="connsiteX4" fmla="*/ 12184741 w 12192000"/>
              <a:gd name="connsiteY4" fmla="*/ 4660323 h 4660323"/>
              <a:gd name="connsiteX5" fmla="*/ 12192000 w 12192000"/>
              <a:gd name="connsiteY5" fmla="*/ 4660323 h 4660323"/>
              <a:gd name="connsiteX6" fmla="*/ 12192000 w 12192000"/>
              <a:gd name="connsiteY6" fmla="*/ 0 h 4660323"/>
              <a:gd name="connsiteX7" fmla="*/ 12187594 w 12192000"/>
              <a:gd name="connsiteY7" fmla="*/ 4858 h 4660323"/>
              <a:gd name="connsiteX8" fmla="*/ 6096000 w 12192000"/>
              <a:gd name="connsiteY8" fmla="*/ 982403 h 4660323"/>
              <a:gd name="connsiteX9" fmla="*/ 4406 w 12192000"/>
              <a:gd name="connsiteY9" fmla="*/ 4858 h 4660323"/>
              <a:gd name="connsiteX10" fmla="*/ 0 w 12192000"/>
              <a:gd name="connsiteY10" fmla="*/ 0 h 4660323"/>
              <a:gd name="connsiteX0" fmla="*/ 0 w 12192000"/>
              <a:gd name="connsiteY0" fmla="*/ 4660323 h 4660323"/>
              <a:gd name="connsiteX1" fmla="*/ 6096000 w 12192000"/>
              <a:gd name="connsiteY1" fmla="*/ 3684963 h 4660323"/>
              <a:gd name="connsiteX2" fmla="*/ 12034375 w 12192000"/>
              <a:gd name="connsiteY2" fmla="*/ 4545180 h 4660323"/>
              <a:gd name="connsiteX3" fmla="*/ 12184741 w 12192000"/>
              <a:gd name="connsiteY3" fmla="*/ 4660323 h 4660323"/>
              <a:gd name="connsiteX4" fmla="*/ 12192000 w 12192000"/>
              <a:gd name="connsiteY4" fmla="*/ 4660323 h 4660323"/>
              <a:gd name="connsiteX5" fmla="*/ 12192000 w 12192000"/>
              <a:gd name="connsiteY5" fmla="*/ 0 h 4660323"/>
              <a:gd name="connsiteX6" fmla="*/ 12187594 w 12192000"/>
              <a:gd name="connsiteY6" fmla="*/ 4858 h 4660323"/>
              <a:gd name="connsiteX7" fmla="*/ 6096000 w 12192000"/>
              <a:gd name="connsiteY7" fmla="*/ 982403 h 4660323"/>
              <a:gd name="connsiteX8" fmla="*/ 4406 w 12192000"/>
              <a:gd name="connsiteY8" fmla="*/ 4858 h 4660323"/>
              <a:gd name="connsiteX9" fmla="*/ 0 w 12192000"/>
              <a:gd name="connsiteY9" fmla="*/ 0 h 4660323"/>
              <a:gd name="connsiteX0" fmla="*/ 6096000 w 12192000"/>
              <a:gd name="connsiteY0" fmla="*/ 3684963 h 4660323"/>
              <a:gd name="connsiteX1" fmla="*/ 12034375 w 12192000"/>
              <a:gd name="connsiteY1" fmla="*/ 4545180 h 4660323"/>
              <a:gd name="connsiteX2" fmla="*/ 12184741 w 12192000"/>
              <a:gd name="connsiteY2" fmla="*/ 4660323 h 4660323"/>
              <a:gd name="connsiteX3" fmla="*/ 12192000 w 12192000"/>
              <a:gd name="connsiteY3" fmla="*/ 4660323 h 4660323"/>
              <a:gd name="connsiteX4" fmla="*/ 12192000 w 12192000"/>
              <a:gd name="connsiteY4" fmla="*/ 0 h 4660323"/>
              <a:gd name="connsiteX5" fmla="*/ 12187594 w 12192000"/>
              <a:gd name="connsiteY5" fmla="*/ 4858 h 4660323"/>
              <a:gd name="connsiteX6" fmla="*/ 6096000 w 12192000"/>
              <a:gd name="connsiteY6" fmla="*/ 982403 h 4660323"/>
              <a:gd name="connsiteX7" fmla="*/ 4406 w 12192000"/>
              <a:gd name="connsiteY7" fmla="*/ 4858 h 4660323"/>
              <a:gd name="connsiteX8" fmla="*/ 0 w 12192000"/>
              <a:gd name="connsiteY8" fmla="*/ 0 h 4660323"/>
              <a:gd name="connsiteX0" fmla="*/ 12034375 w 12192000"/>
              <a:gd name="connsiteY0" fmla="*/ 4545180 h 4660323"/>
              <a:gd name="connsiteX1" fmla="*/ 12184741 w 12192000"/>
              <a:gd name="connsiteY1" fmla="*/ 4660323 h 4660323"/>
              <a:gd name="connsiteX2" fmla="*/ 12192000 w 12192000"/>
              <a:gd name="connsiteY2" fmla="*/ 4660323 h 4660323"/>
              <a:gd name="connsiteX3" fmla="*/ 12192000 w 12192000"/>
              <a:gd name="connsiteY3" fmla="*/ 0 h 4660323"/>
              <a:gd name="connsiteX4" fmla="*/ 12187594 w 12192000"/>
              <a:gd name="connsiteY4" fmla="*/ 4858 h 4660323"/>
              <a:gd name="connsiteX5" fmla="*/ 6096000 w 12192000"/>
              <a:gd name="connsiteY5" fmla="*/ 982403 h 4660323"/>
              <a:gd name="connsiteX6" fmla="*/ 4406 w 12192000"/>
              <a:gd name="connsiteY6" fmla="*/ 4858 h 4660323"/>
              <a:gd name="connsiteX7" fmla="*/ 0 w 12192000"/>
              <a:gd name="connsiteY7" fmla="*/ 0 h 4660323"/>
              <a:gd name="connsiteX0" fmla="*/ 12184741 w 12192000"/>
              <a:gd name="connsiteY0" fmla="*/ 4660323 h 4660323"/>
              <a:gd name="connsiteX1" fmla="*/ 12192000 w 12192000"/>
              <a:gd name="connsiteY1" fmla="*/ 4660323 h 4660323"/>
              <a:gd name="connsiteX2" fmla="*/ 12192000 w 12192000"/>
              <a:gd name="connsiteY2" fmla="*/ 0 h 4660323"/>
              <a:gd name="connsiteX3" fmla="*/ 12187594 w 12192000"/>
              <a:gd name="connsiteY3" fmla="*/ 4858 h 4660323"/>
              <a:gd name="connsiteX4" fmla="*/ 6096000 w 12192000"/>
              <a:gd name="connsiteY4" fmla="*/ 982403 h 4660323"/>
              <a:gd name="connsiteX5" fmla="*/ 4406 w 12192000"/>
              <a:gd name="connsiteY5" fmla="*/ 4858 h 4660323"/>
              <a:gd name="connsiteX6" fmla="*/ 0 w 12192000"/>
              <a:gd name="connsiteY6" fmla="*/ 0 h 4660323"/>
              <a:gd name="connsiteX0" fmla="*/ 12184741 w 12192000"/>
              <a:gd name="connsiteY0" fmla="*/ 4660323 h 4660323"/>
              <a:gd name="connsiteX1" fmla="*/ 12192000 w 12192000"/>
              <a:gd name="connsiteY1" fmla="*/ 0 h 4660323"/>
              <a:gd name="connsiteX2" fmla="*/ 12187594 w 12192000"/>
              <a:gd name="connsiteY2" fmla="*/ 4858 h 4660323"/>
              <a:gd name="connsiteX3" fmla="*/ 6096000 w 12192000"/>
              <a:gd name="connsiteY3" fmla="*/ 982403 h 4660323"/>
              <a:gd name="connsiteX4" fmla="*/ 4406 w 12192000"/>
              <a:gd name="connsiteY4" fmla="*/ 4858 h 4660323"/>
              <a:gd name="connsiteX5" fmla="*/ 0 w 12192000"/>
              <a:gd name="connsiteY5" fmla="*/ 0 h 4660323"/>
              <a:gd name="connsiteX0" fmla="*/ 12192000 w 12192000"/>
              <a:gd name="connsiteY0" fmla="*/ 0 h 982403"/>
              <a:gd name="connsiteX1" fmla="*/ 12187594 w 12192000"/>
              <a:gd name="connsiteY1" fmla="*/ 4858 h 982403"/>
              <a:gd name="connsiteX2" fmla="*/ 6096000 w 12192000"/>
              <a:gd name="connsiteY2" fmla="*/ 982403 h 982403"/>
              <a:gd name="connsiteX3" fmla="*/ 4406 w 12192000"/>
              <a:gd name="connsiteY3" fmla="*/ 4858 h 982403"/>
              <a:gd name="connsiteX4" fmla="*/ 0 w 12192000"/>
              <a:gd name="connsiteY4" fmla="*/ 0 h 982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982403">
                <a:moveTo>
                  <a:pt x="12192000" y="0"/>
                </a:moveTo>
                <a:lnTo>
                  <a:pt x="12187594" y="4858"/>
                </a:lnTo>
                <a:cubicBezTo>
                  <a:pt x="11607796" y="562742"/>
                  <a:pt x="9100804" y="982403"/>
                  <a:pt x="6096000" y="982403"/>
                </a:cubicBezTo>
                <a:cubicBezTo>
                  <a:pt x="3091196" y="982403"/>
                  <a:pt x="584204" y="562742"/>
                  <a:pt x="4406" y="48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9" name="文本占位符 18">
            <a:extLst>
              <a:ext uri="{FF2B5EF4-FFF2-40B4-BE49-F238E27FC236}">
                <a16:creationId xmlns:a16="http://schemas.microsoft.com/office/drawing/2014/main" id="{7B1D1C96-987F-41E8-A58E-FFCE0B5A0E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99413" y="1196975"/>
            <a:ext cx="5193174" cy="481354"/>
          </a:xfr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lvl1pPr algn="ctr">
              <a:defRPr lang="en-US" b="1" dirty="0">
                <a:solidFill>
                  <a:schemeClr val="accent1"/>
                </a:solidFill>
                <a:cs typeface="+mn-ea"/>
              </a:defRPr>
            </a:lvl1pPr>
          </a:lstStyle>
          <a:p>
            <a:pPr lvl="0" algn="ctr">
              <a:buSzPct val="25000"/>
            </a:pPr>
            <a:endParaRPr lang="en-US" dirty="0"/>
          </a:p>
        </p:txBody>
      </p:sp>
      <p:sp>
        <p:nvSpPr>
          <p:cNvPr id="136" name="图片占位符 135">
            <a:extLst>
              <a:ext uri="{FF2B5EF4-FFF2-40B4-BE49-F238E27FC236}">
                <a16:creationId xmlns:a16="http://schemas.microsoft.com/office/drawing/2014/main" id="{78805875-03F3-4CD5-B2D4-16C691CB05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018362"/>
            <a:ext cx="2026000" cy="4498694"/>
          </a:xfrm>
          <a:custGeom>
            <a:avLst/>
            <a:gdLst>
              <a:gd name="connsiteX0" fmla="*/ 0 w 2026000"/>
              <a:gd name="connsiteY0" fmla="*/ 0 h 4498694"/>
              <a:gd name="connsiteX1" fmla="*/ 7260 w 2026000"/>
              <a:gd name="connsiteY1" fmla="*/ 0 h 4498694"/>
              <a:gd name="connsiteX2" fmla="*/ 157626 w 2026000"/>
              <a:gd name="connsiteY2" fmla="*/ 132236 h 4498694"/>
              <a:gd name="connsiteX3" fmla="*/ 1998705 w 2026000"/>
              <a:gd name="connsiteY3" fmla="*/ 771745 h 4498694"/>
              <a:gd name="connsiteX4" fmla="*/ 2026000 w 2026000"/>
              <a:gd name="connsiteY4" fmla="*/ 776746 h 4498694"/>
              <a:gd name="connsiteX5" fmla="*/ 2026000 w 2026000"/>
              <a:gd name="connsiteY5" fmla="*/ 3713878 h 4498694"/>
              <a:gd name="connsiteX6" fmla="*/ 1942892 w 2026000"/>
              <a:gd name="connsiteY6" fmla="*/ 3730059 h 4498694"/>
              <a:gd name="connsiteX7" fmla="*/ 4406 w 2026000"/>
              <a:gd name="connsiteY7" fmla="*/ 4493115 h 4498694"/>
              <a:gd name="connsiteX8" fmla="*/ 0 w 2026000"/>
              <a:gd name="connsiteY8" fmla="*/ 4498694 h 4498694"/>
              <a:gd name="connsiteX9" fmla="*/ 0 w 2026000"/>
              <a:gd name="connsiteY9" fmla="*/ 664967 h 4498694"/>
              <a:gd name="connsiteX10" fmla="*/ 0 w 2026000"/>
              <a:gd name="connsiteY10" fmla="*/ 536295 h 4498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26000" h="4498694">
                <a:moveTo>
                  <a:pt x="0" y="0"/>
                </a:moveTo>
                <a:lnTo>
                  <a:pt x="7260" y="0"/>
                </a:lnTo>
                <a:lnTo>
                  <a:pt x="157626" y="132236"/>
                </a:lnTo>
                <a:cubicBezTo>
                  <a:pt x="502052" y="382638"/>
                  <a:pt x="1147691" y="603031"/>
                  <a:pt x="1998705" y="771745"/>
                </a:cubicBezTo>
                <a:lnTo>
                  <a:pt x="2026000" y="776746"/>
                </a:lnTo>
                <a:lnTo>
                  <a:pt x="2026000" y="3713878"/>
                </a:lnTo>
                <a:lnTo>
                  <a:pt x="1942892" y="3730059"/>
                </a:lnTo>
                <a:cubicBezTo>
                  <a:pt x="971422" y="3927338"/>
                  <a:pt x="276186" y="4192786"/>
                  <a:pt x="4406" y="4493115"/>
                </a:cubicBezTo>
                <a:lnTo>
                  <a:pt x="0" y="4498694"/>
                </a:lnTo>
                <a:lnTo>
                  <a:pt x="0" y="664967"/>
                </a:lnTo>
                <a:lnTo>
                  <a:pt x="0" y="536295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37" name="图片占位符 136">
            <a:extLst>
              <a:ext uri="{FF2B5EF4-FFF2-40B4-BE49-F238E27FC236}">
                <a16:creationId xmlns:a16="http://schemas.microsoft.com/office/drawing/2014/main" id="{ED751D8D-61DC-4F9D-93A9-8F7B6C6A5B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062000" y="1801704"/>
            <a:ext cx="1990000" cy="2923527"/>
          </a:xfrm>
          <a:custGeom>
            <a:avLst/>
            <a:gdLst>
              <a:gd name="connsiteX0" fmla="*/ 0 w 1990000"/>
              <a:gd name="connsiteY0" fmla="*/ 0 h 2923527"/>
              <a:gd name="connsiteX1" fmla="*/ 313720 w 1990000"/>
              <a:gd name="connsiteY1" fmla="*/ 57481 h 2923527"/>
              <a:gd name="connsiteX2" fmla="*/ 1578889 w 1990000"/>
              <a:gd name="connsiteY2" fmla="*/ 222957 h 2923527"/>
              <a:gd name="connsiteX3" fmla="*/ 1990000 w 1990000"/>
              <a:gd name="connsiteY3" fmla="*/ 258619 h 2923527"/>
              <a:gd name="connsiteX4" fmla="*/ 1990000 w 1990000"/>
              <a:gd name="connsiteY4" fmla="*/ 2665682 h 2923527"/>
              <a:gd name="connsiteX5" fmla="*/ 1896071 w 1990000"/>
              <a:gd name="connsiteY5" fmla="*/ 2672431 h 2923527"/>
              <a:gd name="connsiteX6" fmla="*/ 78826 w 1990000"/>
              <a:gd name="connsiteY6" fmla="*/ 2908181 h 2923527"/>
              <a:gd name="connsiteX7" fmla="*/ 0 w 1990000"/>
              <a:gd name="connsiteY7" fmla="*/ 2923527 h 2923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90000" h="2923527">
                <a:moveTo>
                  <a:pt x="0" y="0"/>
                </a:moveTo>
                <a:lnTo>
                  <a:pt x="313720" y="57481"/>
                </a:lnTo>
                <a:cubicBezTo>
                  <a:pt x="702750" y="123269"/>
                  <a:pt x="1126988" y="178997"/>
                  <a:pt x="1578889" y="222957"/>
                </a:cubicBezTo>
                <a:lnTo>
                  <a:pt x="1990000" y="258619"/>
                </a:lnTo>
                <a:lnTo>
                  <a:pt x="1990000" y="2665682"/>
                </a:lnTo>
                <a:lnTo>
                  <a:pt x="1896071" y="2672431"/>
                </a:lnTo>
                <a:cubicBezTo>
                  <a:pt x="1229431" y="2727625"/>
                  <a:pt x="616238" y="2807892"/>
                  <a:pt x="78826" y="2908181"/>
                </a:cubicBezTo>
                <a:lnTo>
                  <a:pt x="0" y="2923527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8" name="图片占位符 137">
            <a:extLst>
              <a:ext uri="{FF2B5EF4-FFF2-40B4-BE49-F238E27FC236}">
                <a16:creationId xmlns:a16="http://schemas.microsoft.com/office/drawing/2014/main" id="{EC9B6A5C-A9DE-4621-91BA-AECD839BFBD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88000" y="2063447"/>
            <a:ext cx="1990000" cy="2401353"/>
          </a:xfrm>
          <a:custGeom>
            <a:avLst/>
            <a:gdLst>
              <a:gd name="connsiteX0" fmla="*/ 0 w 1990000"/>
              <a:gd name="connsiteY0" fmla="*/ 0 h 2401353"/>
              <a:gd name="connsiteX1" fmla="*/ 13732 w 1990000"/>
              <a:gd name="connsiteY1" fmla="*/ 1191 h 2401353"/>
              <a:gd name="connsiteX2" fmla="*/ 1490152 w 1990000"/>
              <a:gd name="connsiteY2" fmla="*/ 70259 h 2401353"/>
              <a:gd name="connsiteX3" fmla="*/ 1990000 w 1990000"/>
              <a:gd name="connsiteY3" fmla="*/ 74899 h 2401353"/>
              <a:gd name="connsiteX4" fmla="*/ 1990000 w 1990000"/>
              <a:gd name="connsiteY4" fmla="*/ 2325551 h 2401353"/>
              <a:gd name="connsiteX5" fmla="*/ 1450782 w 1990000"/>
              <a:gd name="connsiteY5" fmla="*/ 2330940 h 2401353"/>
              <a:gd name="connsiteX6" fmla="*/ 379724 w 1990000"/>
              <a:gd name="connsiteY6" fmla="*/ 2374072 h 2401353"/>
              <a:gd name="connsiteX7" fmla="*/ 0 w 1990000"/>
              <a:gd name="connsiteY7" fmla="*/ 2401353 h 240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90000" h="2401353">
                <a:moveTo>
                  <a:pt x="0" y="0"/>
                </a:moveTo>
                <a:lnTo>
                  <a:pt x="13732" y="1191"/>
                </a:lnTo>
                <a:cubicBezTo>
                  <a:pt x="483238" y="37118"/>
                  <a:pt x="977893" y="60709"/>
                  <a:pt x="1490152" y="70259"/>
                </a:cubicBezTo>
                <a:lnTo>
                  <a:pt x="1990000" y="74899"/>
                </a:lnTo>
                <a:lnTo>
                  <a:pt x="1990000" y="2325551"/>
                </a:lnTo>
                <a:lnTo>
                  <a:pt x="1450782" y="2330940"/>
                </a:lnTo>
                <a:cubicBezTo>
                  <a:pt x="1083658" y="2338313"/>
                  <a:pt x="725708" y="2352900"/>
                  <a:pt x="379724" y="2374072"/>
                </a:cubicBezTo>
                <a:lnTo>
                  <a:pt x="0" y="240135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9" name="图片占位符 138">
            <a:extLst>
              <a:ext uri="{FF2B5EF4-FFF2-40B4-BE49-F238E27FC236}">
                <a16:creationId xmlns:a16="http://schemas.microsoft.com/office/drawing/2014/main" id="{535BE455-31C8-4C38-A584-6BF2B9E52CA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4000" y="2063447"/>
            <a:ext cx="1990000" cy="2401353"/>
          </a:xfrm>
          <a:custGeom>
            <a:avLst/>
            <a:gdLst>
              <a:gd name="connsiteX0" fmla="*/ 1990000 w 1990000"/>
              <a:gd name="connsiteY0" fmla="*/ 0 h 2401353"/>
              <a:gd name="connsiteX1" fmla="*/ 1990000 w 1990000"/>
              <a:gd name="connsiteY1" fmla="*/ 2401353 h 2401353"/>
              <a:gd name="connsiteX2" fmla="*/ 1610276 w 1990000"/>
              <a:gd name="connsiteY2" fmla="*/ 2374072 h 2401353"/>
              <a:gd name="connsiteX3" fmla="*/ 539218 w 1990000"/>
              <a:gd name="connsiteY3" fmla="*/ 2330940 h 2401353"/>
              <a:gd name="connsiteX4" fmla="*/ 0 w 1990000"/>
              <a:gd name="connsiteY4" fmla="*/ 2325551 h 2401353"/>
              <a:gd name="connsiteX5" fmla="*/ 0 w 1990000"/>
              <a:gd name="connsiteY5" fmla="*/ 74899 h 2401353"/>
              <a:gd name="connsiteX6" fmla="*/ 499848 w 1990000"/>
              <a:gd name="connsiteY6" fmla="*/ 70259 h 2401353"/>
              <a:gd name="connsiteX7" fmla="*/ 1976268 w 1990000"/>
              <a:gd name="connsiteY7" fmla="*/ 1191 h 240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90000" h="2401353">
                <a:moveTo>
                  <a:pt x="1990000" y="0"/>
                </a:moveTo>
                <a:lnTo>
                  <a:pt x="1990000" y="2401353"/>
                </a:lnTo>
                <a:lnTo>
                  <a:pt x="1610276" y="2374072"/>
                </a:lnTo>
                <a:cubicBezTo>
                  <a:pt x="1264293" y="2352900"/>
                  <a:pt x="906343" y="2338313"/>
                  <a:pt x="539218" y="2330940"/>
                </a:cubicBezTo>
                <a:lnTo>
                  <a:pt x="0" y="2325551"/>
                </a:lnTo>
                <a:lnTo>
                  <a:pt x="0" y="74899"/>
                </a:lnTo>
                <a:lnTo>
                  <a:pt x="499848" y="70259"/>
                </a:lnTo>
                <a:cubicBezTo>
                  <a:pt x="1012108" y="60709"/>
                  <a:pt x="1506762" y="37118"/>
                  <a:pt x="1976268" y="1191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0" name="图片占位符 139">
            <a:extLst>
              <a:ext uri="{FF2B5EF4-FFF2-40B4-BE49-F238E27FC236}">
                <a16:creationId xmlns:a16="http://schemas.microsoft.com/office/drawing/2014/main" id="{A6518E82-DB13-4F41-93CC-DAB539F2264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40000" y="1801704"/>
            <a:ext cx="1990000" cy="2909325"/>
          </a:xfrm>
          <a:custGeom>
            <a:avLst/>
            <a:gdLst>
              <a:gd name="connsiteX0" fmla="*/ 1990000 w 1990000"/>
              <a:gd name="connsiteY0" fmla="*/ 0 h 2909325"/>
              <a:gd name="connsiteX1" fmla="*/ 1990000 w 1990000"/>
              <a:gd name="connsiteY1" fmla="*/ 2909325 h 2909325"/>
              <a:gd name="connsiteX2" fmla="*/ 1917050 w 1990000"/>
              <a:gd name="connsiteY2" fmla="*/ 2909325 h 2909325"/>
              <a:gd name="connsiteX3" fmla="*/ 1911174 w 1990000"/>
              <a:gd name="connsiteY3" fmla="*/ 2908181 h 2909325"/>
              <a:gd name="connsiteX4" fmla="*/ 93929 w 1990000"/>
              <a:gd name="connsiteY4" fmla="*/ 2672431 h 2909325"/>
              <a:gd name="connsiteX5" fmla="*/ 0 w 1990000"/>
              <a:gd name="connsiteY5" fmla="*/ 2665682 h 2909325"/>
              <a:gd name="connsiteX6" fmla="*/ 0 w 1990000"/>
              <a:gd name="connsiteY6" fmla="*/ 258619 h 2909325"/>
              <a:gd name="connsiteX7" fmla="*/ 411111 w 1990000"/>
              <a:gd name="connsiteY7" fmla="*/ 222957 h 2909325"/>
              <a:gd name="connsiteX8" fmla="*/ 1676281 w 1990000"/>
              <a:gd name="connsiteY8" fmla="*/ 57481 h 2909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90000" h="2909325">
                <a:moveTo>
                  <a:pt x="1990000" y="0"/>
                </a:moveTo>
                <a:lnTo>
                  <a:pt x="1990000" y="2909325"/>
                </a:lnTo>
                <a:lnTo>
                  <a:pt x="1917050" y="2909325"/>
                </a:lnTo>
                <a:lnTo>
                  <a:pt x="1911174" y="2908181"/>
                </a:lnTo>
                <a:cubicBezTo>
                  <a:pt x="1373763" y="2807892"/>
                  <a:pt x="760570" y="2727625"/>
                  <a:pt x="93929" y="2672431"/>
                </a:cubicBezTo>
                <a:lnTo>
                  <a:pt x="0" y="2665682"/>
                </a:lnTo>
                <a:lnTo>
                  <a:pt x="0" y="258619"/>
                </a:lnTo>
                <a:lnTo>
                  <a:pt x="411111" y="222957"/>
                </a:lnTo>
                <a:cubicBezTo>
                  <a:pt x="863012" y="178997"/>
                  <a:pt x="1287250" y="123269"/>
                  <a:pt x="1676281" y="57481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1" name="图片占位符 140">
            <a:extLst>
              <a:ext uri="{FF2B5EF4-FFF2-40B4-BE49-F238E27FC236}">
                <a16:creationId xmlns:a16="http://schemas.microsoft.com/office/drawing/2014/main" id="{2B1D2CAE-95C3-46B2-8202-C5F898C02C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166000" y="1018362"/>
            <a:ext cx="2026000" cy="4498692"/>
          </a:xfrm>
          <a:custGeom>
            <a:avLst/>
            <a:gdLst>
              <a:gd name="connsiteX0" fmla="*/ 2018741 w 2026000"/>
              <a:gd name="connsiteY0" fmla="*/ 0 h 4498692"/>
              <a:gd name="connsiteX1" fmla="*/ 2026000 w 2026000"/>
              <a:gd name="connsiteY1" fmla="*/ 0 h 4498692"/>
              <a:gd name="connsiteX2" fmla="*/ 2026000 w 2026000"/>
              <a:gd name="connsiteY2" fmla="*/ 664967 h 4498692"/>
              <a:gd name="connsiteX3" fmla="*/ 2025999 w 2026000"/>
              <a:gd name="connsiteY3" fmla="*/ 664967 h 4498692"/>
              <a:gd name="connsiteX4" fmla="*/ 2025999 w 2026000"/>
              <a:gd name="connsiteY4" fmla="*/ 4498692 h 4498692"/>
              <a:gd name="connsiteX5" fmla="*/ 2021594 w 2026000"/>
              <a:gd name="connsiteY5" fmla="*/ 4493115 h 4498692"/>
              <a:gd name="connsiteX6" fmla="*/ 83108 w 2026000"/>
              <a:gd name="connsiteY6" fmla="*/ 3730059 h 4498692"/>
              <a:gd name="connsiteX7" fmla="*/ 0 w 2026000"/>
              <a:gd name="connsiteY7" fmla="*/ 3713878 h 4498692"/>
              <a:gd name="connsiteX8" fmla="*/ 0 w 2026000"/>
              <a:gd name="connsiteY8" fmla="*/ 776746 h 4498692"/>
              <a:gd name="connsiteX9" fmla="*/ 27296 w 2026000"/>
              <a:gd name="connsiteY9" fmla="*/ 771745 h 4498692"/>
              <a:gd name="connsiteX10" fmla="*/ 1868375 w 2026000"/>
              <a:gd name="connsiteY10" fmla="*/ 132236 h 449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26000" h="4498692">
                <a:moveTo>
                  <a:pt x="2018741" y="0"/>
                </a:moveTo>
                <a:lnTo>
                  <a:pt x="2026000" y="0"/>
                </a:lnTo>
                <a:lnTo>
                  <a:pt x="2026000" y="664967"/>
                </a:lnTo>
                <a:lnTo>
                  <a:pt x="2025999" y="664967"/>
                </a:lnTo>
                <a:lnTo>
                  <a:pt x="2025999" y="4498692"/>
                </a:lnTo>
                <a:lnTo>
                  <a:pt x="2021594" y="4493115"/>
                </a:lnTo>
                <a:cubicBezTo>
                  <a:pt x="1749814" y="4192786"/>
                  <a:pt x="1054578" y="3927338"/>
                  <a:pt x="83108" y="3730059"/>
                </a:cubicBezTo>
                <a:lnTo>
                  <a:pt x="0" y="3713878"/>
                </a:lnTo>
                <a:lnTo>
                  <a:pt x="0" y="776746"/>
                </a:lnTo>
                <a:lnTo>
                  <a:pt x="27296" y="771745"/>
                </a:lnTo>
                <a:cubicBezTo>
                  <a:pt x="878310" y="603031"/>
                  <a:pt x="1523949" y="382638"/>
                  <a:pt x="1868375" y="132236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1" name="文本占位符 20">
            <a:extLst>
              <a:ext uri="{FF2B5EF4-FFF2-40B4-BE49-F238E27FC236}">
                <a16:creationId xmlns:a16="http://schemas.microsoft.com/office/drawing/2014/main" id="{3EBE47C1-C48E-4845-992D-D5276693C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20473700">
            <a:off x="205739" y="5317113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</a:p>
        </p:txBody>
      </p:sp>
      <p:sp>
        <p:nvSpPr>
          <p:cNvPr id="142" name="文本占位符 20">
            <a:extLst>
              <a:ext uri="{FF2B5EF4-FFF2-40B4-BE49-F238E27FC236}">
                <a16:creationId xmlns:a16="http://schemas.microsoft.com/office/drawing/2014/main" id="{2BED4618-504D-47E2-A2E0-67277518220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21090254">
            <a:off x="2263139" y="4859913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dirty="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</a:p>
        </p:txBody>
      </p:sp>
      <p:sp>
        <p:nvSpPr>
          <p:cNvPr id="143" name="文本占位符 20">
            <a:extLst>
              <a:ext uri="{FF2B5EF4-FFF2-40B4-BE49-F238E27FC236}">
                <a16:creationId xmlns:a16="http://schemas.microsoft.com/office/drawing/2014/main" id="{9DDC291E-C49D-411D-9A20-994BE00A3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2920" y="4699894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dirty="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</a:p>
        </p:txBody>
      </p:sp>
      <p:sp>
        <p:nvSpPr>
          <p:cNvPr id="144" name="文本占位符 20">
            <a:extLst>
              <a:ext uri="{FF2B5EF4-FFF2-40B4-BE49-F238E27FC236}">
                <a16:creationId xmlns:a16="http://schemas.microsoft.com/office/drawing/2014/main" id="{2BC1B4C5-09E5-49DE-9CC0-0002A94101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6500" y="4699894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dirty="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</a:p>
        </p:txBody>
      </p:sp>
      <p:sp>
        <p:nvSpPr>
          <p:cNvPr id="145" name="文本占位符 20">
            <a:extLst>
              <a:ext uri="{FF2B5EF4-FFF2-40B4-BE49-F238E27FC236}">
                <a16:creationId xmlns:a16="http://schemas.microsoft.com/office/drawing/2014/main" id="{1F3E3B01-36C5-4BF2-81CE-B7B0197AE13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rot="509746" flipH="1">
            <a:off x="8323471" y="4859914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dirty="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</a:p>
        </p:txBody>
      </p:sp>
      <p:sp>
        <p:nvSpPr>
          <p:cNvPr id="146" name="文本占位符 20">
            <a:extLst>
              <a:ext uri="{FF2B5EF4-FFF2-40B4-BE49-F238E27FC236}">
                <a16:creationId xmlns:a16="http://schemas.microsoft.com/office/drawing/2014/main" id="{15F998F0-2559-4D12-A16B-8DEA90C6C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126300" flipH="1">
            <a:off x="10341961" y="5317112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</a:p>
        </p:txBody>
      </p:sp>
    </p:spTree>
    <p:extLst>
      <p:ext uri="{BB962C8B-B14F-4D97-AF65-F5344CB8AC3E}">
        <p14:creationId xmlns:p14="http://schemas.microsoft.com/office/powerpoint/2010/main" val="28432810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0A203406-D549-43B3-858B-D22FF029ECC4}"/>
              </a:ext>
            </a:extLst>
          </p:cNvPr>
          <p:cNvGrpSpPr/>
          <p:nvPr userDrawn="1"/>
        </p:nvGrpSpPr>
        <p:grpSpPr>
          <a:xfrm>
            <a:off x="1126359" y="1209174"/>
            <a:ext cx="5489130" cy="4651672"/>
            <a:chOff x="804241" y="1209174"/>
            <a:chExt cx="5489130" cy="465167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3" name="Freeform 5">
              <a:extLst>
                <a:ext uri="{FF2B5EF4-FFF2-40B4-BE49-F238E27FC236}">
                  <a16:creationId xmlns:a16="http://schemas.microsoft.com/office/drawing/2014/main" id="{B2F15345-65BF-492B-AFCA-7BC2CBD821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4241" y="1209174"/>
              <a:ext cx="3345848" cy="4651671"/>
            </a:xfrm>
            <a:custGeom>
              <a:avLst/>
              <a:gdLst>
                <a:gd name="T0" fmla="*/ 787 w 805"/>
                <a:gd name="T1" fmla="*/ 30 h 1082"/>
                <a:gd name="T2" fmla="*/ 770 w 805"/>
                <a:gd name="T3" fmla="*/ 14 h 1082"/>
                <a:gd name="T4" fmla="*/ 769 w 805"/>
                <a:gd name="T5" fmla="*/ 13 h 1082"/>
                <a:gd name="T6" fmla="*/ 753 w 805"/>
                <a:gd name="T7" fmla="*/ 5 h 1082"/>
                <a:gd name="T8" fmla="*/ 753 w 805"/>
                <a:gd name="T9" fmla="*/ 5 h 1082"/>
                <a:gd name="T10" fmla="*/ 724 w 805"/>
                <a:gd name="T11" fmla="*/ 0 h 1082"/>
                <a:gd name="T12" fmla="*/ 3 w 805"/>
                <a:gd name="T13" fmla="*/ 0 h 1082"/>
                <a:gd name="T14" fmla="*/ 0 w 805"/>
                <a:gd name="T15" fmla="*/ 0 h 1082"/>
                <a:gd name="T16" fmla="*/ 16 w 805"/>
                <a:gd name="T17" fmla="*/ 4 h 1082"/>
                <a:gd name="T18" fmla="*/ 48 w 805"/>
                <a:gd name="T19" fmla="*/ 28 h 1082"/>
                <a:gd name="T20" fmla="*/ 67 w 805"/>
                <a:gd name="T21" fmla="*/ 81 h 1082"/>
                <a:gd name="T22" fmla="*/ 67 w 805"/>
                <a:gd name="T23" fmla="*/ 1082 h 1082"/>
                <a:gd name="T24" fmla="*/ 722 w 805"/>
                <a:gd name="T25" fmla="*/ 1082 h 1082"/>
                <a:gd name="T26" fmla="*/ 722 w 805"/>
                <a:gd name="T27" fmla="*/ 996 h 1082"/>
                <a:gd name="T28" fmla="*/ 805 w 805"/>
                <a:gd name="T29" fmla="*/ 996 h 1082"/>
                <a:gd name="T30" fmla="*/ 805 w 805"/>
                <a:gd name="T31" fmla="*/ 81 h 1082"/>
                <a:gd name="T32" fmla="*/ 787 w 805"/>
                <a:gd name="T33" fmla="*/ 30 h 1082"/>
                <a:gd name="T34" fmla="*/ 37 w 805"/>
                <a:gd name="T35" fmla="*/ 1 h 1082"/>
                <a:gd name="T36" fmla="*/ 37 w 805"/>
                <a:gd name="T37" fmla="*/ 1 h 1082"/>
                <a:gd name="T38" fmla="*/ 38 w 805"/>
                <a:gd name="T39" fmla="*/ 1 h 1082"/>
                <a:gd name="T40" fmla="*/ 37 w 805"/>
                <a:gd name="T41" fmla="*/ 1 h 1082"/>
                <a:gd name="T42" fmla="*/ 62 w 805"/>
                <a:gd name="T43" fmla="*/ 14 h 1082"/>
                <a:gd name="T44" fmla="*/ 63 w 805"/>
                <a:gd name="T45" fmla="*/ 15 h 1082"/>
                <a:gd name="T46" fmla="*/ 63 w 805"/>
                <a:gd name="T47" fmla="*/ 15 h 1082"/>
                <a:gd name="T48" fmla="*/ 62 w 805"/>
                <a:gd name="T49" fmla="*/ 14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5" h="1082">
                  <a:moveTo>
                    <a:pt x="787" y="30"/>
                  </a:moveTo>
                  <a:cubicBezTo>
                    <a:pt x="782" y="24"/>
                    <a:pt x="776" y="18"/>
                    <a:pt x="770" y="14"/>
                  </a:cubicBezTo>
                  <a:cubicBezTo>
                    <a:pt x="770" y="14"/>
                    <a:pt x="769" y="13"/>
                    <a:pt x="769" y="13"/>
                  </a:cubicBezTo>
                  <a:cubicBezTo>
                    <a:pt x="753" y="5"/>
                    <a:pt x="753" y="5"/>
                    <a:pt x="753" y="5"/>
                  </a:cubicBezTo>
                  <a:cubicBezTo>
                    <a:pt x="753" y="5"/>
                    <a:pt x="753" y="5"/>
                    <a:pt x="753" y="5"/>
                  </a:cubicBezTo>
                  <a:cubicBezTo>
                    <a:pt x="744" y="1"/>
                    <a:pt x="734" y="0"/>
                    <a:pt x="72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1"/>
                    <a:pt x="11" y="2"/>
                    <a:pt x="16" y="4"/>
                  </a:cubicBezTo>
                  <a:cubicBezTo>
                    <a:pt x="29" y="9"/>
                    <a:pt x="40" y="17"/>
                    <a:pt x="48" y="28"/>
                  </a:cubicBezTo>
                  <a:cubicBezTo>
                    <a:pt x="60" y="42"/>
                    <a:pt x="67" y="61"/>
                    <a:pt x="67" y="81"/>
                  </a:cubicBezTo>
                  <a:cubicBezTo>
                    <a:pt x="67" y="1082"/>
                    <a:pt x="67" y="1082"/>
                    <a:pt x="67" y="1082"/>
                  </a:cubicBezTo>
                  <a:cubicBezTo>
                    <a:pt x="722" y="1082"/>
                    <a:pt x="722" y="1082"/>
                    <a:pt x="722" y="1082"/>
                  </a:cubicBezTo>
                  <a:cubicBezTo>
                    <a:pt x="722" y="996"/>
                    <a:pt x="722" y="996"/>
                    <a:pt x="722" y="996"/>
                  </a:cubicBezTo>
                  <a:cubicBezTo>
                    <a:pt x="805" y="996"/>
                    <a:pt x="805" y="996"/>
                    <a:pt x="805" y="996"/>
                  </a:cubicBezTo>
                  <a:cubicBezTo>
                    <a:pt x="805" y="81"/>
                    <a:pt x="805" y="81"/>
                    <a:pt x="805" y="81"/>
                  </a:cubicBezTo>
                  <a:cubicBezTo>
                    <a:pt x="805" y="62"/>
                    <a:pt x="799" y="44"/>
                    <a:pt x="787" y="30"/>
                  </a:cubicBezTo>
                  <a:close/>
                  <a:moveTo>
                    <a:pt x="37" y="1"/>
                  </a:moveTo>
                  <a:cubicBezTo>
                    <a:pt x="37" y="1"/>
                    <a:pt x="37" y="1"/>
                    <a:pt x="37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7" y="1"/>
                    <a:pt x="37" y="1"/>
                  </a:cubicBezTo>
                  <a:close/>
                  <a:moveTo>
                    <a:pt x="62" y="14"/>
                  </a:moveTo>
                  <a:cubicBezTo>
                    <a:pt x="63" y="14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2" y="1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endParaRPr>
            </a:p>
          </p:txBody>
        </p:sp>
        <p:grpSp>
          <p:nvGrpSpPr>
            <p:cNvPr id="114" name="组合 113">
              <a:extLst>
                <a:ext uri="{FF2B5EF4-FFF2-40B4-BE49-F238E27FC236}">
                  <a16:creationId xmlns:a16="http://schemas.microsoft.com/office/drawing/2014/main" id="{A26AC114-3036-4067-B75F-10194AA750BF}"/>
                </a:ext>
              </a:extLst>
            </p:cNvPr>
            <p:cNvGrpSpPr/>
            <p:nvPr/>
          </p:nvGrpSpPr>
          <p:grpSpPr>
            <a:xfrm>
              <a:off x="2947523" y="1209174"/>
              <a:ext cx="3345848" cy="4651672"/>
              <a:chOff x="3526643" y="1209174"/>
              <a:chExt cx="3345848" cy="4651672"/>
            </a:xfrm>
          </p:grpSpPr>
          <p:sp>
            <p:nvSpPr>
              <p:cNvPr id="115" name="Freeform 5">
                <a:extLst>
                  <a:ext uri="{FF2B5EF4-FFF2-40B4-BE49-F238E27FC236}">
                    <a16:creationId xmlns:a16="http://schemas.microsoft.com/office/drawing/2014/main" id="{1BBB97DE-51BF-48AE-9D84-8D5A7B7A28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26643" y="1209174"/>
                <a:ext cx="3345848" cy="4651671"/>
              </a:xfrm>
              <a:custGeom>
                <a:avLst/>
                <a:gdLst>
                  <a:gd name="T0" fmla="*/ 787 w 805"/>
                  <a:gd name="T1" fmla="*/ 30 h 1082"/>
                  <a:gd name="T2" fmla="*/ 770 w 805"/>
                  <a:gd name="T3" fmla="*/ 14 h 1082"/>
                  <a:gd name="T4" fmla="*/ 769 w 805"/>
                  <a:gd name="T5" fmla="*/ 13 h 1082"/>
                  <a:gd name="T6" fmla="*/ 753 w 805"/>
                  <a:gd name="T7" fmla="*/ 5 h 1082"/>
                  <a:gd name="T8" fmla="*/ 753 w 805"/>
                  <a:gd name="T9" fmla="*/ 5 h 1082"/>
                  <a:gd name="T10" fmla="*/ 724 w 805"/>
                  <a:gd name="T11" fmla="*/ 0 h 1082"/>
                  <a:gd name="T12" fmla="*/ 3 w 805"/>
                  <a:gd name="T13" fmla="*/ 0 h 1082"/>
                  <a:gd name="T14" fmla="*/ 0 w 805"/>
                  <a:gd name="T15" fmla="*/ 0 h 1082"/>
                  <a:gd name="T16" fmla="*/ 16 w 805"/>
                  <a:gd name="T17" fmla="*/ 4 h 1082"/>
                  <a:gd name="T18" fmla="*/ 48 w 805"/>
                  <a:gd name="T19" fmla="*/ 28 h 1082"/>
                  <a:gd name="T20" fmla="*/ 67 w 805"/>
                  <a:gd name="T21" fmla="*/ 81 h 1082"/>
                  <a:gd name="T22" fmla="*/ 67 w 805"/>
                  <a:gd name="T23" fmla="*/ 1082 h 1082"/>
                  <a:gd name="T24" fmla="*/ 722 w 805"/>
                  <a:gd name="T25" fmla="*/ 1082 h 1082"/>
                  <a:gd name="T26" fmla="*/ 722 w 805"/>
                  <a:gd name="T27" fmla="*/ 996 h 1082"/>
                  <a:gd name="T28" fmla="*/ 805 w 805"/>
                  <a:gd name="T29" fmla="*/ 996 h 1082"/>
                  <a:gd name="T30" fmla="*/ 805 w 805"/>
                  <a:gd name="T31" fmla="*/ 81 h 1082"/>
                  <a:gd name="T32" fmla="*/ 787 w 805"/>
                  <a:gd name="T33" fmla="*/ 30 h 1082"/>
                  <a:gd name="T34" fmla="*/ 37 w 805"/>
                  <a:gd name="T35" fmla="*/ 1 h 1082"/>
                  <a:gd name="T36" fmla="*/ 37 w 805"/>
                  <a:gd name="T37" fmla="*/ 1 h 1082"/>
                  <a:gd name="T38" fmla="*/ 38 w 805"/>
                  <a:gd name="T39" fmla="*/ 1 h 1082"/>
                  <a:gd name="T40" fmla="*/ 37 w 805"/>
                  <a:gd name="T41" fmla="*/ 1 h 1082"/>
                  <a:gd name="T42" fmla="*/ 62 w 805"/>
                  <a:gd name="T43" fmla="*/ 14 h 1082"/>
                  <a:gd name="T44" fmla="*/ 63 w 805"/>
                  <a:gd name="T45" fmla="*/ 15 h 1082"/>
                  <a:gd name="T46" fmla="*/ 63 w 805"/>
                  <a:gd name="T47" fmla="*/ 15 h 1082"/>
                  <a:gd name="T48" fmla="*/ 62 w 805"/>
                  <a:gd name="T49" fmla="*/ 14 h 1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5" h="1082">
                    <a:moveTo>
                      <a:pt x="787" y="30"/>
                    </a:moveTo>
                    <a:cubicBezTo>
                      <a:pt x="782" y="24"/>
                      <a:pt x="776" y="18"/>
                      <a:pt x="770" y="14"/>
                    </a:cubicBezTo>
                    <a:cubicBezTo>
                      <a:pt x="770" y="14"/>
                      <a:pt x="769" y="13"/>
                      <a:pt x="769" y="13"/>
                    </a:cubicBezTo>
                    <a:cubicBezTo>
                      <a:pt x="753" y="5"/>
                      <a:pt x="753" y="5"/>
                      <a:pt x="753" y="5"/>
                    </a:cubicBezTo>
                    <a:cubicBezTo>
                      <a:pt x="753" y="5"/>
                      <a:pt x="753" y="5"/>
                      <a:pt x="753" y="5"/>
                    </a:cubicBezTo>
                    <a:cubicBezTo>
                      <a:pt x="744" y="1"/>
                      <a:pt x="734" y="0"/>
                      <a:pt x="72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1"/>
                      <a:pt x="11" y="2"/>
                      <a:pt x="16" y="4"/>
                    </a:cubicBezTo>
                    <a:cubicBezTo>
                      <a:pt x="29" y="9"/>
                      <a:pt x="40" y="17"/>
                      <a:pt x="48" y="28"/>
                    </a:cubicBezTo>
                    <a:cubicBezTo>
                      <a:pt x="60" y="42"/>
                      <a:pt x="67" y="61"/>
                      <a:pt x="67" y="81"/>
                    </a:cubicBezTo>
                    <a:cubicBezTo>
                      <a:pt x="67" y="1082"/>
                      <a:pt x="67" y="1082"/>
                      <a:pt x="67" y="1082"/>
                    </a:cubicBezTo>
                    <a:cubicBezTo>
                      <a:pt x="722" y="1082"/>
                      <a:pt x="722" y="1082"/>
                      <a:pt x="722" y="1082"/>
                    </a:cubicBezTo>
                    <a:cubicBezTo>
                      <a:pt x="722" y="996"/>
                      <a:pt x="722" y="996"/>
                      <a:pt x="722" y="996"/>
                    </a:cubicBezTo>
                    <a:cubicBezTo>
                      <a:pt x="805" y="996"/>
                      <a:pt x="805" y="996"/>
                      <a:pt x="805" y="996"/>
                    </a:cubicBezTo>
                    <a:cubicBezTo>
                      <a:pt x="805" y="81"/>
                      <a:pt x="805" y="81"/>
                      <a:pt x="805" y="81"/>
                    </a:cubicBezTo>
                    <a:cubicBezTo>
                      <a:pt x="805" y="62"/>
                      <a:pt x="799" y="44"/>
                      <a:pt x="787" y="30"/>
                    </a:cubicBezTo>
                    <a:close/>
                    <a:moveTo>
                      <a:pt x="37" y="1"/>
                    </a:moveTo>
                    <a:cubicBezTo>
                      <a:pt x="37" y="1"/>
                      <a:pt x="37" y="1"/>
                      <a:pt x="37" y="1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8" y="1"/>
                      <a:pt x="37" y="1"/>
                      <a:pt x="37" y="1"/>
                    </a:cubicBezTo>
                    <a:close/>
                    <a:moveTo>
                      <a:pt x="62" y="14"/>
                    </a:moveTo>
                    <a:cubicBezTo>
                      <a:pt x="63" y="14"/>
                      <a:pt x="63" y="15"/>
                      <a:pt x="63" y="15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3" y="15"/>
                      <a:pt x="63" y="15"/>
                      <a:pt x="62" y="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116" name="Freeform 13">
                <a:extLst>
                  <a:ext uri="{FF2B5EF4-FFF2-40B4-BE49-F238E27FC236}">
                    <a16:creationId xmlns:a16="http://schemas.microsoft.com/office/drawing/2014/main" id="{CBCFC339-F56F-48FB-820D-5B23971FB2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8130" y="5491377"/>
                <a:ext cx="344361" cy="369469"/>
              </a:xfrm>
              <a:custGeom>
                <a:avLst/>
                <a:gdLst>
                  <a:gd name="T0" fmla="*/ 236 w 236"/>
                  <a:gd name="T1" fmla="*/ 0 h 244"/>
                  <a:gd name="T2" fmla="*/ 0 w 236"/>
                  <a:gd name="T3" fmla="*/ 244 h 244"/>
                  <a:gd name="T4" fmla="*/ 0 w 236"/>
                  <a:gd name="T5" fmla="*/ 0 h 244"/>
                  <a:gd name="T6" fmla="*/ 236 w 236"/>
                  <a:gd name="T7" fmla="*/ 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6" h="244">
                    <a:moveTo>
                      <a:pt x="236" y="0"/>
                    </a:moveTo>
                    <a:lnTo>
                      <a:pt x="0" y="244"/>
                    </a:lnTo>
                    <a:lnTo>
                      <a:pt x="0" y="0"/>
                    </a:lnTo>
                    <a:lnTo>
                      <a:pt x="23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</p:grpSp>
      <p:sp>
        <p:nvSpPr>
          <p:cNvPr id="117" name="Freeform 14">
            <a:extLst>
              <a:ext uri="{FF2B5EF4-FFF2-40B4-BE49-F238E27FC236}">
                <a16:creationId xmlns:a16="http://schemas.microsoft.com/office/drawing/2014/main" id="{281B576A-0E0B-4744-A791-B822C3EA5682}"/>
              </a:ext>
            </a:extLst>
          </p:cNvPr>
          <p:cNvSpPr>
            <a:spLocks/>
          </p:cNvSpPr>
          <p:nvPr userDrawn="1"/>
        </p:nvSpPr>
        <p:spPr bwMode="auto">
          <a:xfrm>
            <a:off x="847660" y="1209174"/>
            <a:ext cx="557398" cy="902473"/>
          </a:xfrm>
          <a:custGeom>
            <a:avLst/>
            <a:gdLst>
              <a:gd name="T0" fmla="*/ 134 w 134"/>
              <a:gd name="T1" fmla="*/ 81 h 210"/>
              <a:gd name="T2" fmla="*/ 134 w 134"/>
              <a:gd name="T3" fmla="*/ 210 h 210"/>
              <a:gd name="T4" fmla="*/ 85 w 134"/>
              <a:gd name="T5" fmla="*/ 210 h 210"/>
              <a:gd name="T6" fmla="*/ 83 w 134"/>
              <a:gd name="T7" fmla="*/ 210 h 210"/>
              <a:gd name="T8" fmla="*/ 0 w 134"/>
              <a:gd name="T9" fmla="*/ 104 h 210"/>
              <a:gd name="T10" fmla="*/ 2 w 134"/>
              <a:gd name="T11" fmla="*/ 81 h 210"/>
              <a:gd name="T12" fmla="*/ 30 w 134"/>
              <a:gd name="T13" fmla="*/ 23 h 210"/>
              <a:gd name="T14" fmla="*/ 67 w 134"/>
              <a:gd name="T15" fmla="*/ 0 h 210"/>
              <a:gd name="T16" fmla="*/ 83 w 134"/>
              <a:gd name="T17" fmla="*/ 4 h 210"/>
              <a:gd name="T18" fmla="*/ 115 w 134"/>
              <a:gd name="T19" fmla="*/ 28 h 210"/>
              <a:gd name="T20" fmla="*/ 134 w 134"/>
              <a:gd name="T21" fmla="*/ 81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4" h="210">
                <a:moveTo>
                  <a:pt x="134" y="81"/>
                </a:moveTo>
                <a:cubicBezTo>
                  <a:pt x="134" y="210"/>
                  <a:pt x="134" y="210"/>
                  <a:pt x="134" y="210"/>
                </a:cubicBezTo>
                <a:cubicBezTo>
                  <a:pt x="85" y="210"/>
                  <a:pt x="85" y="210"/>
                  <a:pt x="85" y="210"/>
                </a:cubicBezTo>
                <a:cubicBezTo>
                  <a:pt x="84" y="210"/>
                  <a:pt x="84" y="210"/>
                  <a:pt x="83" y="210"/>
                </a:cubicBezTo>
                <a:cubicBezTo>
                  <a:pt x="37" y="209"/>
                  <a:pt x="0" y="162"/>
                  <a:pt x="0" y="104"/>
                </a:cubicBezTo>
                <a:cubicBezTo>
                  <a:pt x="0" y="96"/>
                  <a:pt x="1" y="88"/>
                  <a:pt x="2" y="81"/>
                </a:cubicBezTo>
                <a:cubicBezTo>
                  <a:pt x="6" y="58"/>
                  <a:pt x="16" y="37"/>
                  <a:pt x="30" y="23"/>
                </a:cubicBezTo>
                <a:cubicBezTo>
                  <a:pt x="41" y="12"/>
                  <a:pt x="54" y="4"/>
                  <a:pt x="67" y="0"/>
                </a:cubicBezTo>
                <a:cubicBezTo>
                  <a:pt x="73" y="1"/>
                  <a:pt x="78" y="2"/>
                  <a:pt x="83" y="4"/>
                </a:cubicBezTo>
                <a:cubicBezTo>
                  <a:pt x="96" y="9"/>
                  <a:pt x="107" y="17"/>
                  <a:pt x="115" y="28"/>
                </a:cubicBezTo>
                <a:cubicBezTo>
                  <a:pt x="127" y="42"/>
                  <a:pt x="134" y="61"/>
                  <a:pt x="134" y="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grpSp>
        <p:nvGrpSpPr>
          <p:cNvPr id="118" name="组合 117">
            <a:extLst>
              <a:ext uri="{FF2B5EF4-FFF2-40B4-BE49-F238E27FC236}">
                <a16:creationId xmlns:a16="http://schemas.microsoft.com/office/drawing/2014/main" id="{85295BF4-CF2E-473D-AF36-D9E0DAFD90E8}"/>
              </a:ext>
            </a:extLst>
          </p:cNvPr>
          <p:cNvGrpSpPr/>
          <p:nvPr userDrawn="1"/>
        </p:nvGrpSpPr>
        <p:grpSpPr>
          <a:xfrm>
            <a:off x="838056" y="2221950"/>
            <a:ext cx="1219231" cy="4033622"/>
            <a:chOff x="2617114" y="2629161"/>
            <a:chExt cx="1326471" cy="4228839"/>
          </a:xfrm>
        </p:grpSpPr>
        <p:sp>
          <p:nvSpPr>
            <p:cNvPr id="119" name="iśḻîḍé">
              <a:extLst>
                <a:ext uri="{FF2B5EF4-FFF2-40B4-BE49-F238E27FC236}">
                  <a16:creationId xmlns:a16="http://schemas.microsoft.com/office/drawing/2014/main" id="{877DB513-5133-42C5-8AC3-F49F27393C9E}"/>
                </a:ext>
              </a:extLst>
            </p:cNvPr>
            <p:cNvSpPr/>
            <p:nvPr/>
          </p:nvSpPr>
          <p:spPr bwMode="auto">
            <a:xfrm flipH="1">
              <a:off x="2617114" y="2629161"/>
              <a:ext cx="1326471" cy="3113789"/>
            </a:xfrm>
            <a:custGeom>
              <a:avLst/>
              <a:gdLst>
                <a:gd name="T0" fmla="*/ 485 w 653"/>
                <a:gd name="T1" fmla="*/ 235 h 1443"/>
                <a:gd name="T2" fmla="*/ 346 w 653"/>
                <a:gd name="T3" fmla="*/ 20 h 1443"/>
                <a:gd name="T4" fmla="*/ 342 w 653"/>
                <a:gd name="T5" fmla="*/ 590 h 1443"/>
                <a:gd name="T6" fmla="*/ 188 w 653"/>
                <a:gd name="T7" fmla="*/ 190 h 1443"/>
                <a:gd name="T8" fmla="*/ 86 w 653"/>
                <a:gd name="T9" fmla="*/ 7 h 1443"/>
                <a:gd name="T10" fmla="*/ 22 w 653"/>
                <a:gd name="T11" fmla="*/ 191 h 1443"/>
                <a:gd name="T12" fmla="*/ 107 w 653"/>
                <a:gd name="T13" fmla="*/ 538 h 1443"/>
                <a:gd name="T14" fmla="*/ 132 w 653"/>
                <a:gd name="T15" fmla="*/ 1010 h 1443"/>
                <a:gd name="T16" fmla="*/ 60 w 653"/>
                <a:gd name="T17" fmla="*/ 1009 h 1443"/>
                <a:gd name="T18" fmla="*/ 113 w 653"/>
                <a:gd name="T19" fmla="*/ 1152 h 1443"/>
                <a:gd name="T20" fmla="*/ 137 w 653"/>
                <a:gd name="T21" fmla="*/ 1433 h 1443"/>
                <a:gd name="T22" fmla="*/ 563 w 653"/>
                <a:gd name="T23" fmla="*/ 1443 h 1443"/>
                <a:gd name="T24" fmla="*/ 622 w 653"/>
                <a:gd name="T25" fmla="*/ 644 h 1443"/>
                <a:gd name="T26" fmla="*/ 485 w 653"/>
                <a:gd name="T27" fmla="*/ 235 h 1443"/>
                <a:gd name="connsiteX0" fmla="*/ 7215 w 9385"/>
                <a:gd name="connsiteY0" fmla="*/ 1583 h 9954"/>
                <a:gd name="connsiteX1" fmla="*/ 5087 w 9385"/>
                <a:gd name="connsiteY1" fmla="*/ 93 h 9954"/>
                <a:gd name="connsiteX2" fmla="*/ 5025 w 9385"/>
                <a:gd name="connsiteY2" fmla="*/ 4043 h 9954"/>
                <a:gd name="connsiteX3" fmla="*/ 2667 w 9385"/>
                <a:gd name="connsiteY3" fmla="*/ 1271 h 9954"/>
                <a:gd name="connsiteX4" fmla="*/ 1105 w 9385"/>
                <a:gd name="connsiteY4" fmla="*/ 3 h 9954"/>
                <a:gd name="connsiteX5" fmla="*/ 125 w 9385"/>
                <a:gd name="connsiteY5" fmla="*/ 1278 h 9954"/>
                <a:gd name="connsiteX6" fmla="*/ 1427 w 9385"/>
                <a:gd name="connsiteY6" fmla="*/ 3682 h 9954"/>
                <a:gd name="connsiteX7" fmla="*/ 1809 w 9385"/>
                <a:gd name="connsiteY7" fmla="*/ 6953 h 9954"/>
                <a:gd name="connsiteX8" fmla="*/ 1518 w 9385"/>
                <a:gd name="connsiteY8" fmla="*/ 7937 h 9954"/>
                <a:gd name="connsiteX9" fmla="*/ 1886 w 9385"/>
                <a:gd name="connsiteY9" fmla="*/ 9885 h 9954"/>
                <a:gd name="connsiteX10" fmla="*/ 8410 w 9385"/>
                <a:gd name="connsiteY10" fmla="*/ 9954 h 9954"/>
                <a:gd name="connsiteX11" fmla="*/ 9313 w 9385"/>
                <a:gd name="connsiteY11" fmla="*/ 4417 h 9954"/>
                <a:gd name="connsiteX12" fmla="*/ 7215 w 9385"/>
                <a:gd name="connsiteY12" fmla="*/ 1583 h 9954"/>
                <a:gd name="connsiteX0" fmla="*/ 7688 w 9999"/>
                <a:gd name="connsiteY0" fmla="*/ 1590 h 10000"/>
                <a:gd name="connsiteX1" fmla="*/ 5420 w 9999"/>
                <a:gd name="connsiteY1" fmla="*/ 93 h 10000"/>
                <a:gd name="connsiteX2" fmla="*/ 5354 w 9999"/>
                <a:gd name="connsiteY2" fmla="*/ 4062 h 10000"/>
                <a:gd name="connsiteX3" fmla="*/ 2842 w 9999"/>
                <a:gd name="connsiteY3" fmla="*/ 1277 h 10000"/>
                <a:gd name="connsiteX4" fmla="*/ 1177 w 9999"/>
                <a:gd name="connsiteY4" fmla="*/ 3 h 10000"/>
                <a:gd name="connsiteX5" fmla="*/ 133 w 9999"/>
                <a:gd name="connsiteY5" fmla="*/ 1284 h 10000"/>
                <a:gd name="connsiteX6" fmla="*/ 1521 w 9999"/>
                <a:gd name="connsiteY6" fmla="*/ 3699 h 10000"/>
                <a:gd name="connsiteX7" fmla="*/ 1928 w 9999"/>
                <a:gd name="connsiteY7" fmla="*/ 6985 h 10000"/>
                <a:gd name="connsiteX8" fmla="*/ 2010 w 9999"/>
                <a:gd name="connsiteY8" fmla="*/ 9931 h 10000"/>
                <a:gd name="connsiteX9" fmla="*/ 8961 w 9999"/>
                <a:gd name="connsiteY9" fmla="*/ 10000 h 10000"/>
                <a:gd name="connsiteX10" fmla="*/ 9923 w 9999"/>
                <a:gd name="connsiteY10" fmla="*/ 4437 h 10000"/>
                <a:gd name="connsiteX11" fmla="*/ 7688 w 9999"/>
                <a:gd name="connsiteY11" fmla="*/ 1590 h 10000"/>
                <a:gd name="connsiteX0" fmla="*/ 7683 w 9994"/>
                <a:gd name="connsiteY0" fmla="*/ 1497 h 9907"/>
                <a:gd name="connsiteX1" fmla="*/ 5415 w 9994"/>
                <a:gd name="connsiteY1" fmla="*/ 0 h 9907"/>
                <a:gd name="connsiteX2" fmla="*/ 5349 w 9994"/>
                <a:gd name="connsiteY2" fmla="*/ 3969 h 9907"/>
                <a:gd name="connsiteX3" fmla="*/ 2836 w 9994"/>
                <a:gd name="connsiteY3" fmla="*/ 1184 h 9907"/>
                <a:gd name="connsiteX4" fmla="*/ 1216 w 9994"/>
                <a:gd name="connsiteY4" fmla="*/ 240 h 9907"/>
                <a:gd name="connsiteX5" fmla="*/ 127 w 9994"/>
                <a:gd name="connsiteY5" fmla="*/ 1191 h 9907"/>
                <a:gd name="connsiteX6" fmla="*/ 1515 w 9994"/>
                <a:gd name="connsiteY6" fmla="*/ 3606 h 9907"/>
                <a:gd name="connsiteX7" fmla="*/ 1922 w 9994"/>
                <a:gd name="connsiteY7" fmla="*/ 6892 h 9907"/>
                <a:gd name="connsiteX8" fmla="*/ 2004 w 9994"/>
                <a:gd name="connsiteY8" fmla="*/ 9838 h 9907"/>
                <a:gd name="connsiteX9" fmla="*/ 8956 w 9994"/>
                <a:gd name="connsiteY9" fmla="*/ 9907 h 9907"/>
                <a:gd name="connsiteX10" fmla="*/ 9918 w 9994"/>
                <a:gd name="connsiteY10" fmla="*/ 4344 h 9907"/>
                <a:gd name="connsiteX11" fmla="*/ 7683 w 9994"/>
                <a:gd name="connsiteY11" fmla="*/ 1497 h 9907"/>
                <a:gd name="connsiteX0" fmla="*/ 7641 w 9953"/>
                <a:gd name="connsiteY0" fmla="*/ 1511 h 10000"/>
                <a:gd name="connsiteX1" fmla="*/ 5371 w 9953"/>
                <a:gd name="connsiteY1" fmla="*/ 0 h 10000"/>
                <a:gd name="connsiteX2" fmla="*/ 5305 w 9953"/>
                <a:gd name="connsiteY2" fmla="*/ 4006 h 10000"/>
                <a:gd name="connsiteX3" fmla="*/ 3155 w 9953"/>
                <a:gd name="connsiteY3" fmla="*/ 1704 h 10000"/>
                <a:gd name="connsiteX4" fmla="*/ 1170 w 9953"/>
                <a:gd name="connsiteY4" fmla="*/ 242 h 10000"/>
                <a:gd name="connsiteX5" fmla="*/ 80 w 9953"/>
                <a:gd name="connsiteY5" fmla="*/ 1202 h 10000"/>
                <a:gd name="connsiteX6" fmla="*/ 1469 w 9953"/>
                <a:gd name="connsiteY6" fmla="*/ 3640 h 10000"/>
                <a:gd name="connsiteX7" fmla="*/ 1876 w 9953"/>
                <a:gd name="connsiteY7" fmla="*/ 6957 h 10000"/>
                <a:gd name="connsiteX8" fmla="*/ 1958 w 9953"/>
                <a:gd name="connsiteY8" fmla="*/ 9930 h 10000"/>
                <a:gd name="connsiteX9" fmla="*/ 8914 w 9953"/>
                <a:gd name="connsiteY9" fmla="*/ 10000 h 10000"/>
                <a:gd name="connsiteX10" fmla="*/ 9877 w 9953"/>
                <a:gd name="connsiteY10" fmla="*/ 4385 h 10000"/>
                <a:gd name="connsiteX11" fmla="*/ 7641 w 9953"/>
                <a:gd name="connsiteY11" fmla="*/ 1511 h 10000"/>
                <a:gd name="connsiteX0" fmla="*/ 7506 w 9830"/>
                <a:gd name="connsiteY0" fmla="*/ 1511 h 10000"/>
                <a:gd name="connsiteX1" fmla="*/ 5225 w 9830"/>
                <a:gd name="connsiteY1" fmla="*/ 0 h 10000"/>
                <a:gd name="connsiteX2" fmla="*/ 5159 w 9830"/>
                <a:gd name="connsiteY2" fmla="*/ 4006 h 10000"/>
                <a:gd name="connsiteX3" fmla="*/ 2999 w 9830"/>
                <a:gd name="connsiteY3" fmla="*/ 1704 h 10000"/>
                <a:gd name="connsiteX4" fmla="*/ 1005 w 9830"/>
                <a:gd name="connsiteY4" fmla="*/ 242 h 10000"/>
                <a:gd name="connsiteX5" fmla="*/ 92 w 9830"/>
                <a:gd name="connsiteY5" fmla="*/ 2005 h 10000"/>
                <a:gd name="connsiteX6" fmla="*/ 1305 w 9830"/>
                <a:gd name="connsiteY6" fmla="*/ 3640 h 10000"/>
                <a:gd name="connsiteX7" fmla="*/ 1714 w 9830"/>
                <a:gd name="connsiteY7" fmla="*/ 6957 h 10000"/>
                <a:gd name="connsiteX8" fmla="*/ 1796 w 9830"/>
                <a:gd name="connsiteY8" fmla="*/ 9930 h 10000"/>
                <a:gd name="connsiteX9" fmla="*/ 8785 w 9830"/>
                <a:gd name="connsiteY9" fmla="*/ 10000 h 10000"/>
                <a:gd name="connsiteX10" fmla="*/ 9753 w 9830"/>
                <a:gd name="connsiteY10" fmla="*/ 4385 h 10000"/>
                <a:gd name="connsiteX11" fmla="*/ 7506 w 9830"/>
                <a:gd name="connsiteY11" fmla="*/ 1511 h 10000"/>
                <a:gd name="connsiteX0" fmla="*/ 7629 w 9993"/>
                <a:gd name="connsiteY0" fmla="*/ 1511 h 10000"/>
                <a:gd name="connsiteX1" fmla="*/ 5308 w 9993"/>
                <a:gd name="connsiteY1" fmla="*/ 0 h 10000"/>
                <a:gd name="connsiteX2" fmla="*/ 5241 w 9993"/>
                <a:gd name="connsiteY2" fmla="*/ 4006 h 10000"/>
                <a:gd name="connsiteX3" fmla="*/ 3044 w 9993"/>
                <a:gd name="connsiteY3" fmla="*/ 1704 h 10000"/>
                <a:gd name="connsiteX4" fmla="*/ 1108 w 9993"/>
                <a:gd name="connsiteY4" fmla="*/ 908 h 10000"/>
                <a:gd name="connsiteX5" fmla="*/ 87 w 9993"/>
                <a:gd name="connsiteY5" fmla="*/ 2005 h 10000"/>
                <a:gd name="connsiteX6" fmla="*/ 1321 w 9993"/>
                <a:gd name="connsiteY6" fmla="*/ 3640 h 10000"/>
                <a:gd name="connsiteX7" fmla="*/ 1737 w 9993"/>
                <a:gd name="connsiteY7" fmla="*/ 6957 h 10000"/>
                <a:gd name="connsiteX8" fmla="*/ 1820 w 9993"/>
                <a:gd name="connsiteY8" fmla="*/ 9930 h 10000"/>
                <a:gd name="connsiteX9" fmla="*/ 8930 w 9993"/>
                <a:gd name="connsiteY9" fmla="*/ 10000 h 10000"/>
                <a:gd name="connsiteX10" fmla="*/ 9915 w 9993"/>
                <a:gd name="connsiteY10" fmla="*/ 4385 h 10000"/>
                <a:gd name="connsiteX11" fmla="*/ 7629 w 9993"/>
                <a:gd name="connsiteY11" fmla="*/ 1511 h 10000"/>
                <a:gd name="connsiteX0" fmla="*/ 7671 w 10037"/>
                <a:gd name="connsiteY0" fmla="*/ 1511 h 10000"/>
                <a:gd name="connsiteX1" fmla="*/ 5349 w 10037"/>
                <a:gd name="connsiteY1" fmla="*/ 0 h 10000"/>
                <a:gd name="connsiteX2" fmla="*/ 5282 w 10037"/>
                <a:gd name="connsiteY2" fmla="*/ 4006 h 10000"/>
                <a:gd name="connsiteX3" fmla="*/ 3083 w 10037"/>
                <a:gd name="connsiteY3" fmla="*/ 1704 h 10000"/>
                <a:gd name="connsiteX4" fmla="*/ 1146 w 10037"/>
                <a:gd name="connsiteY4" fmla="*/ 908 h 10000"/>
                <a:gd name="connsiteX5" fmla="*/ 124 w 10037"/>
                <a:gd name="connsiteY5" fmla="*/ 2005 h 10000"/>
                <a:gd name="connsiteX6" fmla="*/ 1359 w 10037"/>
                <a:gd name="connsiteY6" fmla="*/ 3640 h 10000"/>
                <a:gd name="connsiteX7" fmla="*/ 1775 w 10037"/>
                <a:gd name="connsiteY7" fmla="*/ 6957 h 10000"/>
                <a:gd name="connsiteX8" fmla="*/ 1858 w 10037"/>
                <a:gd name="connsiteY8" fmla="*/ 9930 h 10000"/>
                <a:gd name="connsiteX9" fmla="*/ 8973 w 10037"/>
                <a:gd name="connsiteY9" fmla="*/ 10000 h 10000"/>
                <a:gd name="connsiteX10" fmla="*/ 9959 w 10037"/>
                <a:gd name="connsiteY10" fmla="*/ 4385 h 10000"/>
                <a:gd name="connsiteX11" fmla="*/ 7671 w 10037"/>
                <a:gd name="connsiteY11" fmla="*/ 1511 h 10000"/>
                <a:gd name="connsiteX0" fmla="*/ 7636 w 10002"/>
                <a:gd name="connsiteY0" fmla="*/ 1511 h 10000"/>
                <a:gd name="connsiteX1" fmla="*/ 5314 w 10002"/>
                <a:gd name="connsiteY1" fmla="*/ 0 h 10000"/>
                <a:gd name="connsiteX2" fmla="*/ 5247 w 10002"/>
                <a:gd name="connsiteY2" fmla="*/ 4006 h 10000"/>
                <a:gd name="connsiteX3" fmla="*/ 3234 w 10002"/>
                <a:gd name="connsiteY3" fmla="*/ 1802 h 10000"/>
                <a:gd name="connsiteX4" fmla="*/ 1111 w 10002"/>
                <a:gd name="connsiteY4" fmla="*/ 908 h 10000"/>
                <a:gd name="connsiteX5" fmla="*/ 89 w 10002"/>
                <a:gd name="connsiteY5" fmla="*/ 2005 h 10000"/>
                <a:gd name="connsiteX6" fmla="*/ 1324 w 10002"/>
                <a:gd name="connsiteY6" fmla="*/ 3640 h 10000"/>
                <a:gd name="connsiteX7" fmla="*/ 1740 w 10002"/>
                <a:gd name="connsiteY7" fmla="*/ 6957 h 10000"/>
                <a:gd name="connsiteX8" fmla="*/ 1823 w 10002"/>
                <a:gd name="connsiteY8" fmla="*/ 9930 h 10000"/>
                <a:gd name="connsiteX9" fmla="*/ 8938 w 10002"/>
                <a:gd name="connsiteY9" fmla="*/ 10000 h 10000"/>
                <a:gd name="connsiteX10" fmla="*/ 9924 w 10002"/>
                <a:gd name="connsiteY10" fmla="*/ 4385 h 10000"/>
                <a:gd name="connsiteX11" fmla="*/ 7636 w 10002"/>
                <a:gd name="connsiteY11" fmla="*/ 1511 h 10000"/>
                <a:gd name="connsiteX0" fmla="*/ 7737 w 10103"/>
                <a:gd name="connsiteY0" fmla="*/ 1511 h 10000"/>
                <a:gd name="connsiteX1" fmla="*/ 5415 w 10103"/>
                <a:gd name="connsiteY1" fmla="*/ 0 h 10000"/>
                <a:gd name="connsiteX2" fmla="*/ 5348 w 10103"/>
                <a:gd name="connsiteY2" fmla="*/ 4006 h 10000"/>
                <a:gd name="connsiteX3" fmla="*/ 3335 w 10103"/>
                <a:gd name="connsiteY3" fmla="*/ 1802 h 10000"/>
                <a:gd name="connsiteX4" fmla="*/ 1212 w 10103"/>
                <a:gd name="connsiteY4" fmla="*/ 908 h 10000"/>
                <a:gd name="connsiteX5" fmla="*/ 190 w 10103"/>
                <a:gd name="connsiteY5" fmla="*/ 2005 h 10000"/>
                <a:gd name="connsiteX6" fmla="*/ 1425 w 10103"/>
                <a:gd name="connsiteY6" fmla="*/ 3640 h 10000"/>
                <a:gd name="connsiteX7" fmla="*/ 1841 w 10103"/>
                <a:gd name="connsiteY7" fmla="*/ 6957 h 10000"/>
                <a:gd name="connsiteX8" fmla="*/ 1924 w 10103"/>
                <a:gd name="connsiteY8" fmla="*/ 9930 h 10000"/>
                <a:gd name="connsiteX9" fmla="*/ 9039 w 10103"/>
                <a:gd name="connsiteY9" fmla="*/ 10000 h 10000"/>
                <a:gd name="connsiteX10" fmla="*/ 10025 w 10103"/>
                <a:gd name="connsiteY10" fmla="*/ 4385 h 10000"/>
                <a:gd name="connsiteX11" fmla="*/ 7737 w 10103"/>
                <a:gd name="connsiteY11" fmla="*/ 1511 h 10000"/>
                <a:gd name="connsiteX0" fmla="*/ 7737 w 10122"/>
                <a:gd name="connsiteY0" fmla="*/ 1511 h 10000"/>
                <a:gd name="connsiteX1" fmla="*/ 5415 w 10122"/>
                <a:gd name="connsiteY1" fmla="*/ 0 h 10000"/>
                <a:gd name="connsiteX2" fmla="*/ 5348 w 10122"/>
                <a:gd name="connsiteY2" fmla="*/ 4006 h 10000"/>
                <a:gd name="connsiteX3" fmla="*/ 3335 w 10122"/>
                <a:gd name="connsiteY3" fmla="*/ 1802 h 10000"/>
                <a:gd name="connsiteX4" fmla="*/ 1212 w 10122"/>
                <a:gd name="connsiteY4" fmla="*/ 908 h 10000"/>
                <a:gd name="connsiteX5" fmla="*/ 190 w 10122"/>
                <a:gd name="connsiteY5" fmla="*/ 2005 h 10000"/>
                <a:gd name="connsiteX6" fmla="*/ 1425 w 10122"/>
                <a:gd name="connsiteY6" fmla="*/ 3640 h 10000"/>
                <a:gd name="connsiteX7" fmla="*/ 1841 w 10122"/>
                <a:gd name="connsiteY7" fmla="*/ 6957 h 10000"/>
                <a:gd name="connsiteX8" fmla="*/ 1924 w 10122"/>
                <a:gd name="connsiteY8" fmla="*/ 9930 h 10000"/>
                <a:gd name="connsiteX9" fmla="*/ 9039 w 10122"/>
                <a:gd name="connsiteY9" fmla="*/ 10000 h 10000"/>
                <a:gd name="connsiteX10" fmla="*/ 10025 w 10122"/>
                <a:gd name="connsiteY10" fmla="*/ 4385 h 10000"/>
                <a:gd name="connsiteX11" fmla="*/ 8248 w 10122"/>
                <a:gd name="connsiteY11" fmla="*/ 1394 h 10000"/>
                <a:gd name="connsiteX0" fmla="*/ 5415 w 10122"/>
                <a:gd name="connsiteY0" fmla="*/ 0 h 10000"/>
                <a:gd name="connsiteX1" fmla="*/ 5348 w 10122"/>
                <a:gd name="connsiteY1" fmla="*/ 4006 h 10000"/>
                <a:gd name="connsiteX2" fmla="*/ 3335 w 10122"/>
                <a:gd name="connsiteY2" fmla="*/ 1802 h 10000"/>
                <a:gd name="connsiteX3" fmla="*/ 1212 w 10122"/>
                <a:gd name="connsiteY3" fmla="*/ 908 h 10000"/>
                <a:gd name="connsiteX4" fmla="*/ 190 w 10122"/>
                <a:gd name="connsiteY4" fmla="*/ 2005 h 10000"/>
                <a:gd name="connsiteX5" fmla="*/ 1425 w 10122"/>
                <a:gd name="connsiteY5" fmla="*/ 3640 h 10000"/>
                <a:gd name="connsiteX6" fmla="*/ 1841 w 10122"/>
                <a:gd name="connsiteY6" fmla="*/ 6957 h 10000"/>
                <a:gd name="connsiteX7" fmla="*/ 1924 w 10122"/>
                <a:gd name="connsiteY7" fmla="*/ 9930 h 10000"/>
                <a:gd name="connsiteX8" fmla="*/ 9039 w 10122"/>
                <a:gd name="connsiteY8" fmla="*/ 10000 h 10000"/>
                <a:gd name="connsiteX9" fmla="*/ 10025 w 10122"/>
                <a:gd name="connsiteY9" fmla="*/ 4385 h 10000"/>
                <a:gd name="connsiteX10" fmla="*/ 8248 w 10122"/>
                <a:gd name="connsiteY10" fmla="*/ 1394 h 10000"/>
                <a:gd name="connsiteX0" fmla="*/ 5415 w 10118"/>
                <a:gd name="connsiteY0" fmla="*/ 0 h 10000"/>
                <a:gd name="connsiteX1" fmla="*/ 5348 w 10118"/>
                <a:gd name="connsiteY1" fmla="*/ 4006 h 10000"/>
                <a:gd name="connsiteX2" fmla="*/ 3335 w 10118"/>
                <a:gd name="connsiteY2" fmla="*/ 1802 h 10000"/>
                <a:gd name="connsiteX3" fmla="*/ 1212 w 10118"/>
                <a:gd name="connsiteY3" fmla="*/ 908 h 10000"/>
                <a:gd name="connsiteX4" fmla="*/ 190 w 10118"/>
                <a:gd name="connsiteY4" fmla="*/ 2005 h 10000"/>
                <a:gd name="connsiteX5" fmla="*/ 1425 w 10118"/>
                <a:gd name="connsiteY5" fmla="*/ 3640 h 10000"/>
                <a:gd name="connsiteX6" fmla="*/ 1841 w 10118"/>
                <a:gd name="connsiteY6" fmla="*/ 6957 h 10000"/>
                <a:gd name="connsiteX7" fmla="*/ 1924 w 10118"/>
                <a:gd name="connsiteY7" fmla="*/ 9930 h 10000"/>
                <a:gd name="connsiteX8" fmla="*/ 9039 w 10118"/>
                <a:gd name="connsiteY8" fmla="*/ 10000 h 10000"/>
                <a:gd name="connsiteX9" fmla="*/ 10025 w 10118"/>
                <a:gd name="connsiteY9" fmla="*/ 4385 h 10000"/>
                <a:gd name="connsiteX10" fmla="*/ 8155 w 10118"/>
                <a:gd name="connsiteY10" fmla="*/ 137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18" h="10000">
                  <a:moveTo>
                    <a:pt x="5415" y="0"/>
                  </a:moveTo>
                  <a:cubicBezTo>
                    <a:pt x="5393" y="1335"/>
                    <a:pt x="5695" y="3706"/>
                    <a:pt x="5348" y="4006"/>
                  </a:cubicBezTo>
                  <a:cubicBezTo>
                    <a:pt x="5001" y="4306"/>
                    <a:pt x="3469" y="2111"/>
                    <a:pt x="3335" y="1802"/>
                  </a:cubicBezTo>
                  <a:cubicBezTo>
                    <a:pt x="3218" y="1492"/>
                    <a:pt x="2526" y="796"/>
                    <a:pt x="1212" y="908"/>
                  </a:cubicBezTo>
                  <a:cubicBezTo>
                    <a:pt x="-102" y="1020"/>
                    <a:pt x="-177" y="1470"/>
                    <a:pt x="190" y="2005"/>
                  </a:cubicBezTo>
                  <a:cubicBezTo>
                    <a:pt x="875" y="3045"/>
                    <a:pt x="1323" y="2838"/>
                    <a:pt x="1425" y="3640"/>
                  </a:cubicBezTo>
                  <a:cubicBezTo>
                    <a:pt x="1541" y="4371"/>
                    <a:pt x="-146" y="4906"/>
                    <a:pt x="1841" y="6957"/>
                  </a:cubicBezTo>
                  <a:cubicBezTo>
                    <a:pt x="1868" y="7948"/>
                    <a:pt x="1897" y="8939"/>
                    <a:pt x="1924" y="9930"/>
                  </a:cubicBezTo>
                  <a:lnTo>
                    <a:pt x="9039" y="10000"/>
                  </a:lnTo>
                  <a:cubicBezTo>
                    <a:pt x="9121" y="8748"/>
                    <a:pt x="9608" y="5418"/>
                    <a:pt x="10025" y="4385"/>
                  </a:cubicBezTo>
                  <a:cubicBezTo>
                    <a:pt x="10541" y="3071"/>
                    <a:pt x="8773" y="1943"/>
                    <a:pt x="8155" y="1374"/>
                  </a:cubicBezTo>
                </a:path>
              </a:pathLst>
            </a:custGeom>
            <a:solidFill>
              <a:srgbClr val="FAD6A6"/>
            </a:solidFill>
            <a:ln>
              <a:noFill/>
            </a:ln>
            <a:effectLst>
              <a:innerShdw dist="114300" dir="12000000">
                <a:prstClr val="black">
                  <a:alpha val="9000"/>
                </a:prstClr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思源黑体 CN Medium"/>
                <a:cs typeface="+mn-cs"/>
              </a:endParaRPr>
            </a:p>
          </p:txBody>
        </p:sp>
        <p:sp>
          <p:nvSpPr>
            <p:cNvPr id="120" name="îṧļiďé">
              <a:extLst>
                <a:ext uri="{FF2B5EF4-FFF2-40B4-BE49-F238E27FC236}">
                  <a16:creationId xmlns:a16="http://schemas.microsoft.com/office/drawing/2014/main" id="{E7B59D1D-C165-4B43-A1D2-2BC81A6AC1D0}"/>
                </a:ext>
              </a:extLst>
            </p:cNvPr>
            <p:cNvSpPr/>
            <p:nvPr/>
          </p:nvSpPr>
          <p:spPr bwMode="auto">
            <a:xfrm flipH="1">
              <a:off x="2713800" y="5721667"/>
              <a:ext cx="1032773" cy="253566"/>
            </a:xfrm>
            <a:custGeom>
              <a:avLst/>
              <a:gdLst>
                <a:gd name="T0" fmla="*/ 24 w 1116"/>
                <a:gd name="T1" fmla="*/ 0 h 274"/>
                <a:gd name="T2" fmla="*/ 0 w 1116"/>
                <a:gd name="T3" fmla="*/ 232 h 274"/>
                <a:gd name="T4" fmla="*/ 1116 w 1116"/>
                <a:gd name="T5" fmla="*/ 274 h 274"/>
                <a:gd name="T6" fmla="*/ 1116 w 1116"/>
                <a:gd name="T7" fmla="*/ 23 h 274"/>
                <a:gd name="T8" fmla="*/ 1100 w 1116"/>
                <a:gd name="T9" fmla="*/ 23 h 274"/>
                <a:gd name="T10" fmla="*/ 92 w 1116"/>
                <a:gd name="T11" fmla="*/ 0 h 274"/>
                <a:gd name="T12" fmla="*/ 24 w 1116"/>
                <a:gd name="T1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6" h="274">
                  <a:moveTo>
                    <a:pt x="24" y="0"/>
                  </a:moveTo>
                  <a:lnTo>
                    <a:pt x="0" y="232"/>
                  </a:lnTo>
                  <a:lnTo>
                    <a:pt x="1116" y="274"/>
                  </a:lnTo>
                  <a:lnTo>
                    <a:pt x="1116" y="23"/>
                  </a:lnTo>
                  <a:lnTo>
                    <a:pt x="1100" y="23"/>
                  </a:lnTo>
                  <a:lnTo>
                    <a:pt x="92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思源黑体 CN Medium"/>
                <a:cs typeface="+mn-cs"/>
              </a:endParaRPr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57B5EC4B-AEEC-4246-A05D-E51792720700}"/>
                </a:ext>
              </a:extLst>
            </p:cNvPr>
            <p:cNvSpPr/>
            <p:nvPr/>
          </p:nvSpPr>
          <p:spPr bwMode="auto">
            <a:xfrm flipH="1">
              <a:off x="2650332" y="5936364"/>
              <a:ext cx="1250670" cy="921636"/>
            </a:xfrm>
            <a:custGeom>
              <a:avLst/>
              <a:gdLst>
                <a:gd name="connsiteX0" fmla="*/ 154430 w 1250670"/>
                <a:gd name="connsiteY0" fmla="*/ 0 h 921636"/>
                <a:gd name="connsiteX1" fmla="*/ 106308 w 1250670"/>
                <a:gd name="connsiteY1" fmla="*/ 0 h 921636"/>
                <a:gd name="connsiteX2" fmla="*/ 0 w 1250670"/>
                <a:gd name="connsiteY2" fmla="*/ 921636 h 921636"/>
                <a:gd name="connsiteX3" fmla="*/ 1250670 w 1250670"/>
                <a:gd name="connsiteY3" fmla="*/ 921636 h 921636"/>
                <a:gd name="connsiteX4" fmla="*/ 1246431 w 1250670"/>
                <a:gd name="connsiteY4" fmla="*/ 41644 h 921636"/>
                <a:gd name="connsiteX5" fmla="*/ 1187204 w 1250670"/>
                <a:gd name="connsiteY5" fmla="*/ 38868 h 921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0670" h="921636">
                  <a:moveTo>
                    <a:pt x="154430" y="0"/>
                  </a:moveTo>
                  <a:lnTo>
                    <a:pt x="106308" y="0"/>
                  </a:lnTo>
                  <a:lnTo>
                    <a:pt x="0" y="921636"/>
                  </a:lnTo>
                  <a:lnTo>
                    <a:pt x="1250670" y="921636"/>
                  </a:lnTo>
                  <a:lnTo>
                    <a:pt x="1246431" y="41644"/>
                  </a:lnTo>
                  <a:lnTo>
                    <a:pt x="1187204" y="38868"/>
                  </a:lnTo>
                  <a:close/>
                </a:path>
              </a:pathLst>
            </a:custGeom>
            <a:solidFill>
              <a:srgbClr val="4C4C4C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思源黑体 CN Medium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2474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15" name="任意多边形: 形状 214">
            <a:extLst>
              <a:ext uri="{FF2B5EF4-FFF2-40B4-BE49-F238E27FC236}">
                <a16:creationId xmlns:a16="http://schemas.microsoft.com/office/drawing/2014/main" id="{E574EF3D-BF8D-4FD6-A6D4-0EEEF41E0258}"/>
              </a:ext>
            </a:extLst>
          </p:cNvPr>
          <p:cNvSpPr/>
          <p:nvPr userDrawn="1"/>
        </p:nvSpPr>
        <p:spPr>
          <a:xfrm>
            <a:off x="0" y="4841002"/>
            <a:ext cx="11652738" cy="1904035"/>
          </a:xfrm>
          <a:custGeom>
            <a:avLst/>
            <a:gdLst>
              <a:gd name="connsiteX0" fmla="*/ 0 w 11652738"/>
              <a:gd name="connsiteY0" fmla="*/ 0 h 1904035"/>
              <a:gd name="connsiteX1" fmla="*/ 11652738 w 11652738"/>
              <a:gd name="connsiteY1" fmla="*/ 0 h 1904035"/>
              <a:gd name="connsiteX2" fmla="*/ 11176729 w 11652738"/>
              <a:gd name="connsiteY2" fmla="*/ 1904035 h 1904035"/>
              <a:gd name="connsiteX3" fmla="*/ 0 w 11652738"/>
              <a:gd name="connsiteY3" fmla="*/ 1904035 h 1904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52738" h="1904035">
                <a:moveTo>
                  <a:pt x="0" y="0"/>
                </a:moveTo>
                <a:lnTo>
                  <a:pt x="11652738" y="0"/>
                </a:lnTo>
                <a:lnTo>
                  <a:pt x="11176729" y="1904035"/>
                </a:lnTo>
                <a:lnTo>
                  <a:pt x="0" y="1904035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17000"/>
                </a:schemeClr>
              </a:gs>
              <a:gs pos="100000">
                <a:schemeClr val="tx1">
                  <a:lumMod val="65000"/>
                  <a:lumOff val="35000"/>
                  <a:alpha val="64000"/>
                </a:schemeClr>
              </a:gs>
            </a:gsLst>
            <a:lin ang="162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4" name="íś1ïḍê">
            <a:extLst>
              <a:ext uri="{FF2B5EF4-FFF2-40B4-BE49-F238E27FC236}">
                <a16:creationId xmlns:a16="http://schemas.microsoft.com/office/drawing/2014/main" id="{67F45815-E812-4449-A28E-347E37FF7FFB}"/>
              </a:ext>
            </a:extLst>
          </p:cNvPr>
          <p:cNvSpPr/>
          <p:nvPr/>
        </p:nvSpPr>
        <p:spPr bwMode="auto">
          <a:xfrm>
            <a:off x="9298660" y="4798944"/>
            <a:ext cx="2553239" cy="343364"/>
          </a:xfrm>
          <a:custGeom>
            <a:avLst/>
            <a:gdLst>
              <a:gd name="T0" fmla="*/ 334 w 334"/>
              <a:gd name="T1" fmla="*/ 22 h 45"/>
              <a:gd name="T2" fmla="*/ 312 w 334"/>
              <a:gd name="T3" fmla="*/ 0 h 45"/>
              <a:gd name="T4" fmla="*/ 309 w 334"/>
              <a:gd name="T5" fmla="*/ 0 h 45"/>
              <a:gd name="T6" fmla="*/ 0 w 334"/>
              <a:gd name="T7" fmla="*/ 0 h 45"/>
              <a:gd name="T8" fmla="*/ 0 w 334"/>
              <a:gd name="T9" fmla="*/ 45 h 45"/>
              <a:gd name="T10" fmla="*/ 312 w 334"/>
              <a:gd name="T11" fmla="*/ 45 h 45"/>
              <a:gd name="T12" fmla="*/ 312 w 334"/>
              <a:gd name="T13" fmla="*/ 45 h 45"/>
              <a:gd name="T14" fmla="*/ 334 w 334"/>
              <a:gd name="T15" fmla="*/ 22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34" h="45">
                <a:moveTo>
                  <a:pt x="334" y="22"/>
                </a:moveTo>
                <a:cubicBezTo>
                  <a:pt x="334" y="10"/>
                  <a:pt x="324" y="0"/>
                  <a:pt x="312" y="0"/>
                </a:cubicBezTo>
                <a:cubicBezTo>
                  <a:pt x="311" y="0"/>
                  <a:pt x="310" y="0"/>
                  <a:pt x="309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5"/>
                  <a:pt x="0" y="45"/>
                  <a:pt x="0" y="45"/>
                </a:cubicBezTo>
                <a:cubicBezTo>
                  <a:pt x="312" y="45"/>
                  <a:pt x="312" y="45"/>
                  <a:pt x="312" y="45"/>
                </a:cubicBezTo>
                <a:cubicBezTo>
                  <a:pt x="312" y="45"/>
                  <a:pt x="312" y="45"/>
                  <a:pt x="312" y="45"/>
                </a:cubicBezTo>
                <a:cubicBezTo>
                  <a:pt x="324" y="44"/>
                  <a:pt x="334" y="34"/>
                  <a:pt x="334" y="22"/>
                </a:cubicBezTo>
                <a:close/>
              </a:path>
            </a:pathLst>
          </a:cu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5" name="iṡliḑe">
            <a:extLst>
              <a:ext uri="{FF2B5EF4-FFF2-40B4-BE49-F238E27FC236}">
                <a16:creationId xmlns:a16="http://schemas.microsoft.com/office/drawing/2014/main" id="{8FFB6726-D5FA-4FFF-A605-FC7401F0C694}"/>
              </a:ext>
            </a:extLst>
          </p:cNvPr>
          <p:cNvSpPr/>
          <p:nvPr/>
        </p:nvSpPr>
        <p:spPr bwMode="auto">
          <a:xfrm>
            <a:off x="11171721" y="5013195"/>
            <a:ext cx="641818" cy="381723"/>
          </a:xfrm>
          <a:custGeom>
            <a:avLst/>
            <a:gdLst>
              <a:gd name="T0" fmla="*/ 392 w 686"/>
              <a:gd name="T1" fmla="*/ 408 h 408"/>
              <a:gd name="T2" fmla="*/ 686 w 686"/>
              <a:gd name="T3" fmla="*/ 65 h 408"/>
              <a:gd name="T4" fmla="*/ 229 w 686"/>
              <a:gd name="T5" fmla="*/ 0 h 408"/>
              <a:gd name="T6" fmla="*/ 0 w 686"/>
              <a:gd name="T7" fmla="*/ 228 h 408"/>
              <a:gd name="T8" fmla="*/ 392 w 686"/>
              <a:gd name="T9" fmla="*/ 408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6" h="408">
                <a:moveTo>
                  <a:pt x="392" y="408"/>
                </a:moveTo>
                <a:lnTo>
                  <a:pt x="686" y="65"/>
                </a:lnTo>
                <a:lnTo>
                  <a:pt x="229" y="0"/>
                </a:lnTo>
                <a:lnTo>
                  <a:pt x="0" y="228"/>
                </a:lnTo>
                <a:lnTo>
                  <a:pt x="392" y="408"/>
                </a:lnTo>
                <a:close/>
              </a:path>
            </a:pathLst>
          </a:cu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6" name="îş1îde">
            <a:extLst>
              <a:ext uri="{FF2B5EF4-FFF2-40B4-BE49-F238E27FC236}">
                <a16:creationId xmlns:a16="http://schemas.microsoft.com/office/drawing/2014/main" id="{DB6C06D9-4DA6-445A-90AD-44A8CB958559}"/>
              </a:ext>
            </a:extLst>
          </p:cNvPr>
          <p:cNvSpPr/>
          <p:nvPr/>
        </p:nvSpPr>
        <p:spPr bwMode="auto">
          <a:xfrm>
            <a:off x="8985235" y="4798944"/>
            <a:ext cx="2675802" cy="313425"/>
          </a:xfrm>
          <a:custGeom>
            <a:avLst/>
            <a:gdLst>
              <a:gd name="T0" fmla="*/ 2550 w 2860"/>
              <a:gd name="T1" fmla="*/ 335 h 335"/>
              <a:gd name="T2" fmla="*/ 0 w 2860"/>
              <a:gd name="T3" fmla="*/ 335 h 335"/>
              <a:gd name="T4" fmla="*/ 311 w 2860"/>
              <a:gd name="T5" fmla="*/ 0 h 335"/>
              <a:gd name="T6" fmla="*/ 2860 w 2860"/>
              <a:gd name="T7" fmla="*/ 0 h 335"/>
              <a:gd name="T8" fmla="*/ 2550 w 2860"/>
              <a:gd name="T9" fmla="*/ 335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60" h="335">
                <a:moveTo>
                  <a:pt x="2550" y="335"/>
                </a:moveTo>
                <a:lnTo>
                  <a:pt x="0" y="335"/>
                </a:lnTo>
                <a:lnTo>
                  <a:pt x="311" y="0"/>
                </a:lnTo>
                <a:lnTo>
                  <a:pt x="2860" y="0"/>
                </a:lnTo>
                <a:lnTo>
                  <a:pt x="2550" y="335"/>
                </a:lnTo>
                <a:close/>
              </a:path>
            </a:pathLst>
          </a:custGeom>
          <a:solidFill>
            <a:srgbClr val="3636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7" name="îş1íḓê">
            <a:extLst>
              <a:ext uri="{FF2B5EF4-FFF2-40B4-BE49-F238E27FC236}">
                <a16:creationId xmlns:a16="http://schemas.microsoft.com/office/drawing/2014/main" id="{A6BD14BD-7176-4ABD-B5AF-C50F8A305E52}"/>
              </a:ext>
            </a:extLst>
          </p:cNvPr>
          <p:cNvSpPr/>
          <p:nvPr/>
        </p:nvSpPr>
        <p:spPr bwMode="auto">
          <a:xfrm>
            <a:off x="9023595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8" name="ísľíďè">
            <a:extLst>
              <a:ext uri="{FF2B5EF4-FFF2-40B4-BE49-F238E27FC236}">
                <a16:creationId xmlns:a16="http://schemas.microsoft.com/office/drawing/2014/main" id="{053E61AF-E556-4B5F-A63A-FF6752A73A76}"/>
              </a:ext>
            </a:extLst>
          </p:cNvPr>
          <p:cNvSpPr/>
          <p:nvPr/>
        </p:nvSpPr>
        <p:spPr bwMode="auto">
          <a:xfrm>
            <a:off x="931456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9" name="îSľïḍè">
            <a:extLst>
              <a:ext uri="{FF2B5EF4-FFF2-40B4-BE49-F238E27FC236}">
                <a16:creationId xmlns:a16="http://schemas.microsoft.com/office/drawing/2014/main" id="{81C77474-5FEB-463C-9D92-A7187DF64FD7}"/>
              </a:ext>
            </a:extLst>
          </p:cNvPr>
          <p:cNvSpPr/>
          <p:nvPr/>
        </p:nvSpPr>
        <p:spPr bwMode="auto">
          <a:xfrm>
            <a:off x="961208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0" name="í$ḷiḑê">
            <a:extLst>
              <a:ext uri="{FF2B5EF4-FFF2-40B4-BE49-F238E27FC236}">
                <a16:creationId xmlns:a16="http://schemas.microsoft.com/office/drawing/2014/main" id="{8134506D-AED7-4CEF-BA37-A6247CCABCD6}"/>
              </a:ext>
            </a:extLst>
          </p:cNvPr>
          <p:cNvSpPr/>
          <p:nvPr/>
        </p:nvSpPr>
        <p:spPr bwMode="auto">
          <a:xfrm>
            <a:off x="9910539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1" name="íŝļïďè">
            <a:extLst>
              <a:ext uri="{FF2B5EF4-FFF2-40B4-BE49-F238E27FC236}">
                <a16:creationId xmlns:a16="http://schemas.microsoft.com/office/drawing/2014/main" id="{1F7B696D-A635-44AB-B4B5-99DABC61FB4B}"/>
              </a:ext>
            </a:extLst>
          </p:cNvPr>
          <p:cNvSpPr/>
          <p:nvPr/>
        </p:nvSpPr>
        <p:spPr bwMode="auto">
          <a:xfrm>
            <a:off x="10208993" y="4806429"/>
            <a:ext cx="535160" cy="298455"/>
          </a:xfrm>
          <a:custGeom>
            <a:avLst/>
            <a:gdLst>
              <a:gd name="T0" fmla="*/ 277 w 572"/>
              <a:gd name="T1" fmla="*/ 319 h 319"/>
              <a:gd name="T2" fmla="*/ 0 w 572"/>
              <a:gd name="T3" fmla="*/ 319 h 319"/>
              <a:gd name="T4" fmla="*/ 286 w 572"/>
              <a:gd name="T5" fmla="*/ 0 h 319"/>
              <a:gd name="T6" fmla="*/ 572 w 572"/>
              <a:gd name="T7" fmla="*/ 0 h 319"/>
              <a:gd name="T8" fmla="*/ 277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7" y="319"/>
                </a:moveTo>
                <a:lnTo>
                  <a:pt x="0" y="319"/>
                </a:lnTo>
                <a:lnTo>
                  <a:pt x="286" y="0"/>
                </a:lnTo>
                <a:lnTo>
                  <a:pt x="572" y="0"/>
                </a:lnTo>
                <a:lnTo>
                  <a:pt x="277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2" name="îşlídè">
            <a:extLst>
              <a:ext uri="{FF2B5EF4-FFF2-40B4-BE49-F238E27FC236}">
                <a16:creationId xmlns:a16="http://schemas.microsoft.com/office/drawing/2014/main" id="{1D8648B4-D064-4BF3-A432-ACE53029D6B1}"/>
              </a:ext>
            </a:extLst>
          </p:cNvPr>
          <p:cNvSpPr/>
          <p:nvPr/>
        </p:nvSpPr>
        <p:spPr bwMode="auto">
          <a:xfrm>
            <a:off x="10499028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3" name="işļíḍè">
            <a:extLst>
              <a:ext uri="{FF2B5EF4-FFF2-40B4-BE49-F238E27FC236}">
                <a16:creationId xmlns:a16="http://schemas.microsoft.com/office/drawing/2014/main" id="{2F4987E1-1C42-4F6D-AD54-D4DC437066DB}"/>
              </a:ext>
            </a:extLst>
          </p:cNvPr>
          <p:cNvSpPr/>
          <p:nvPr/>
        </p:nvSpPr>
        <p:spPr bwMode="auto">
          <a:xfrm>
            <a:off x="10797483" y="4806429"/>
            <a:ext cx="535160" cy="298455"/>
          </a:xfrm>
          <a:custGeom>
            <a:avLst/>
            <a:gdLst>
              <a:gd name="T0" fmla="*/ 286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86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4" name="íšļïḑè">
            <a:extLst>
              <a:ext uri="{FF2B5EF4-FFF2-40B4-BE49-F238E27FC236}">
                <a16:creationId xmlns:a16="http://schemas.microsoft.com/office/drawing/2014/main" id="{2DE19F42-E10B-425B-A91D-796F13CB15D6}"/>
              </a:ext>
            </a:extLst>
          </p:cNvPr>
          <p:cNvSpPr/>
          <p:nvPr/>
        </p:nvSpPr>
        <p:spPr bwMode="auto">
          <a:xfrm>
            <a:off x="11095002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5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5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5" name="îšļïḋê">
            <a:extLst>
              <a:ext uri="{FF2B5EF4-FFF2-40B4-BE49-F238E27FC236}">
                <a16:creationId xmlns:a16="http://schemas.microsoft.com/office/drawing/2014/main" id="{DA97C777-CCE4-4973-9B71-398F0D8077F6}"/>
              </a:ext>
            </a:extLst>
          </p:cNvPr>
          <p:cNvSpPr/>
          <p:nvPr/>
        </p:nvSpPr>
        <p:spPr bwMode="auto">
          <a:xfrm>
            <a:off x="8985235" y="5112369"/>
            <a:ext cx="2591598" cy="343364"/>
          </a:xfrm>
          <a:custGeom>
            <a:avLst/>
            <a:gdLst>
              <a:gd name="T0" fmla="*/ 339 w 339"/>
              <a:gd name="T1" fmla="*/ 22 h 45"/>
              <a:gd name="T2" fmla="*/ 317 w 339"/>
              <a:gd name="T3" fmla="*/ 0 h 45"/>
              <a:gd name="T4" fmla="*/ 314 w 339"/>
              <a:gd name="T5" fmla="*/ 0 h 45"/>
              <a:gd name="T6" fmla="*/ 0 w 339"/>
              <a:gd name="T7" fmla="*/ 0 h 45"/>
              <a:gd name="T8" fmla="*/ 0 w 339"/>
              <a:gd name="T9" fmla="*/ 45 h 45"/>
              <a:gd name="T10" fmla="*/ 317 w 339"/>
              <a:gd name="T11" fmla="*/ 45 h 45"/>
              <a:gd name="T12" fmla="*/ 317 w 339"/>
              <a:gd name="T13" fmla="*/ 45 h 45"/>
              <a:gd name="T14" fmla="*/ 339 w 339"/>
              <a:gd name="T15" fmla="*/ 22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39" h="45">
                <a:moveTo>
                  <a:pt x="339" y="22"/>
                </a:moveTo>
                <a:cubicBezTo>
                  <a:pt x="339" y="10"/>
                  <a:pt x="329" y="0"/>
                  <a:pt x="317" y="0"/>
                </a:cubicBezTo>
                <a:cubicBezTo>
                  <a:pt x="316" y="0"/>
                  <a:pt x="315" y="0"/>
                  <a:pt x="31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5"/>
                  <a:pt x="0" y="45"/>
                  <a:pt x="0" y="45"/>
                </a:cubicBezTo>
                <a:cubicBezTo>
                  <a:pt x="317" y="45"/>
                  <a:pt x="317" y="45"/>
                  <a:pt x="317" y="45"/>
                </a:cubicBezTo>
                <a:cubicBezTo>
                  <a:pt x="317" y="45"/>
                  <a:pt x="317" y="45"/>
                  <a:pt x="317" y="45"/>
                </a:cubicBezTo>
                <a:cubicBezTo>
                  <a:pt x="330" y="44"/>
                  <a:pt x="339" y="34"/>
                  <a:pt x="339" y="22"/>
                </a:cubicBezTo>
                <a:close/>
              </a:path>
            </a:pathLst>
          </a:cu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6" name="íṣlíde">
            <a:extLst>
              <a:ext uri="{FF2B5EF4-FFF2-40B4-BE49-F238E27FC236}">
                <a16:creationId xmlns:a16="http://schemas.microsoft.com/office/drawing/2014/main" id="{7598027F-5309-42C2-B7A6-F5D296E54B71}"/>
              </a:ext>
            </a:extLst>
          </p:cNvPr>
          <p:cNvSpPr/>
          <p:nvPr/>
        </p:nvSpPr>
        <p:spPr bwMode="auto">
          <a:xfrm>
            <a:off x="11408426" y="4813915"/>
            <a:ext cx="421018" cy="443472"/>
          </a:xfrm>
          <a:custGeom>
            <a:avLst/>
            <a:gdLst>
              <a:gd name="T0" fmla="*/ 0 w 55"/>
              <a:gd name="T1" fmla="*/ 38 h 58"/>
              <a:gd name="T2" fmla="*/ 34 w 55"/>
              <a:gd name="T3" fmla="*/ 0 h 58"/>
              <a:gd name="T4" fmla="*/ 55 w 55"/>
              <a:gd name="T5" fmla="*/ 17 h 58"/>
              <a:gd name="T6" fmla="*/ 19 w 55"/>
              <a:gd name="T7" fmla="*/ 58 h 58"/>
              <a:gd name="T8" fmla="*/ 0 w 55"/>
              <a:gd name="T9" fmla="*/ 38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" h="58">
                <a:moveTo>
                  <a:pt x="0" y="38"/>
                </a:moveTo>
                <a:cubicBezTo>
                  <a:pt x="34" y="0"/>
                  <a:pt x="34" y="0"/>
                  <a:pt x="34" y="0"/>
                </a:cubicBezTo>
                <a:cubicBezTo>
                  <a:pt x="34" y="0"/>
                  <a:pt x="50" y="0"/>
                  <a:pt x="55" y="17"/>
                </a:cubicBezTo>
                <a:cubicBezTo>
                  <a:pt x="45" y="27"/>
                  <a:pt x="19" y="58"/>
                  <a:pt x="19" y="58"/>
                </a:cubicBezTo>
                <a:cubicBezTo>
                  <a:pt x="19" y="58"/>
                  <a:pt x="21" y="40"/>
                  <a:pt x="0" y="38"/>
                </a:cubicBez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7" name="íṩliḓê">
            <a:extLst>
              <a:ext uri="{FF2B5EF4-FFF2-40B4-BE49-F238E27FC236}">
                <a16:creationId xmlns:a16="http://schemas.microsoft.com/office/drawing/2014/main" id="{BE47EC22-4015-49DD-A817-B52EEDBF8F29}"/>
              </a:ext>
            </a:extLst>
          </p:cNvPr>
          <p:cNvSpPr/>
          <p:nvPr/>
        </p:nvSpPr>
        <p:spPr bwMode="auto">
          <a:xfrm>
            <a:off x="11538474" y="4967353"/>
            <a:ext cx="290970" cy="420082"/>
          </a:xfrm>
          <a:custGeom>
            <a:avLst/>
            <a:gdLst>
              <a:gd name="T0" fmla="*/ 38 w 38"/>
              <a:gd name="T1" fmla="*/ 0 h 55"/>
              <a:gd name="T2" fmla="*/ 2 w 38"/>
              <a:gd name="T3" fmla="*/ 43 h 55"/>
              <a:gd name="T4" fmla="*/ 0 w 38"/>
              <a:gd name="T5" fmla="*/ 55 h 55"/>
              <a:gd name="T6" fmla="*/ 35 w 38"/>
              <a:gd name="T7" fmla="*/ 15 h 55"/>
              <a:gd name="T8" fmla="*/ 38 w 38"/>
              <a:gd name="T9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" h="55">
                <a:moveTo>
                  <a:pt x="38" y="0"/>
                </a:moveTo>
                <a:cubicBezTo>
                  <a:pt x="2" y="43"/>
                  <a:pt x="2" y="43"/>
                  <a:pt x="2" y="43"/>
                </a:cubicBezTo>
                <a:cubicBezTo>
                  <a:pt x="2" y="43"/>
                  <a:pt x="3" y="50"/>
                  <a:pt x="0" y="55"/>
                </a:cubicBezTo>
                <a:cubicBezTo>
                  <a:pt x="17" y="37"/>
                  <a:pt x="35" y="15"/>
                  <a:pt x="35" y="15"/>
                </a:cubicBezTo>
                <a:cubicBezTo>
                  <a:pt x="35" y="15"/>
                  <a:pt x="38" y="8"/>
                  <a:pt x="38" y="0"/>
                </a:cubicBez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2" name="îş1îde">
            <a:extLst>
              <a:ext uri="{FF2B5EF4-FFF2-40B4-BE49-F238E27FC236}">
                <a16:creationId xmlns:a16="http://schemas.microsoft.com/office/drawing/2014/main" id="{CA73FF82-4851-4902-9C29-27CA735E5122}"/>
              </a:ext>
            </a:extLst>
          </p:cNvPr>
          <p:cNvSpPr/>
          <p:nvPr/>
        </p:nvSpPr>
        <p:spPr bwMode="auto">
          <a:xfrm>
            <a:off x="6621765" y="4798944"/>
            <a:ext cx="2675802" cy="313425"/>
          </a:xfrm>
          <a:custGeom>
            <a:avLst/>
            <a:gdLst>
              <a:gd name="T0" fmla="*/ 2550 w 2860"/>
              <a:gd name="T1" fmla="*/ 335 h 335"/>
              <a:gd name="T2" fmla="*/ 0 w 2860"/>
              <a:gd name="T3" fmla="*/ 335 h 335"/>
              <a:gd name="T4" fmla="*/ 311 w 2860"/>
              <a:gd name="T5" fmla="*/ 0 h 335"/>
              <a:gd name="T6" fmla="*/ 2860 w 2860"/>
              <a:gd name="T7" fmla="*/ 0 h 335"/>
              <a:gd name="T8" fmla="*/ 2550 w 2860"/>
              <a:gd name="T9" fmla="*/ 335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60" h="335">
                <a:moveTo>
                  <a:pt x="2550" y="335"/>
                </a:moveTo>
                <a:lnTo>
                  <a:pt x="0" y="335"/>
                </a:lnTo>
                <a:lnTo>
                  <a:pt x="311" y="0"/>
                </a:lnTo>
                <a:lnTo>
                  <a:pt x="2860" y="0"/>
                </a:lnTo>
                <a:lnTo>
                  <a:pt x="2550" y="335"/>
                </a:lnTo>
                <a:close/>
              </a:path>
            </a:pathLst>
          </a:custGeom>
          <a:solidFill>
            <a:srgbClr val="3636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3" name="îş1íḓê">
            <a:extLst>
              <a:ext uri="{FF2B5EF4-FFF2-40B4-BE49-F238E27FC236}">
                <a16:creationId xmlns:a16="http://schemas.microsoft.com/office/drawing/2014/main" id="{FFB3DE4E-8CD7-4B2D-808B-C0315F0AE726}"/>
              </a:ext>
            </a:extLst>
          </p:cNvPr>
          <p:cNvSpPr/>
          <p:nvPr/>
        </p:nvSpPr>
        <p:spPr bwMode="auto">
          <a:xfrm>
            <a:off x="6660125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4" name="ísľíďè">
            <a:extLst>
              <a:ext uri="{FF2B5EF4-FFF2-40B4-BE49-F238E27FC236}">
                <a16:creationId xmlns:a16="http://schemas.microsoft.com/office/drawing/2014/main" id="{1F9671B6-DC38-4AB5-BA82-D9208348C065}"/>
              </a:ext>
            </a:extLst>
          </p:cNvPr>
          <p:cNvSpPr/>
          <p:nvPr/>
        </p:nvSpPr>
        <p:spPr bwMode="auto">
          <a:xfrm>
            <a:off x="695109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5" name="îSľïḍè">
            <a:extLst>
              <a:ext uri="{FF2B5EF4-FFF2-40B4-BE49-F238E27FC236}">
                <a16:creationId xmlns:a16="http://schemas.microsoft.com/office/drawing/2014/main" id="{C5F002B4-D80F-4E09-B5D9-64E2D00D9AAE}"/>
              </a:ext>
            </a:extLst>
          </p:cNvPr>
          <p:cNvSpPr/>
          <p:nvPr/>
        </p:nvSpPr>
        <p:spPr bwMode="auto">
          <a:xfrm>
            <a:off x="724861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6" name="í$ḷiḑê">
            <a:extLst>
              <a:ext uri="{FF2B5EF4-FFF2-40B4-BE49-F238E27FC236}">
                <a16:creationId xmlns:a16="http://schemas.microsoft.com/office/drawing/2014/main" id="{AA5A9D97-9C32-4FC3-8E65-0C274CFF3449}"/>
              </a:ext>
            </a:extLst>
          </p:cNvPr>
          <p:cNvSpPr/>
          <p:nvPr/>
        </p:nvSpPr>
        <p:spPr bwMode="auto">
          <a:xfrm>
            <a:off x="7547069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7" name="íŝļïďè">
            <a:extLst>
              <a:ext uri="{FF2B5EF4-FFF2-40B4-BE49-F238E27FC236}">
                <a16:creationId xmlns:a16="http://schemas.microsoft.com/office/drawing/2014/main" id="{7D3B4F5C-A0CB-4F4F-9B07-3CE1BBE2C614}"/>
              </a:ext>
            </a:extLst>
          </p:cNvPr>
          <p:cNvSpPr/>
          <p:nvPr/>
        </p:nvSpPr>
        <p:spPr bwMode="auto">
          <a:xfrm>
            <a:off x="7845523" y="4806429"/>
            <a:ext cx="535160" cy="298455"/>
          </a:xfrm>
          <a:custGeom>
            <a:avLst/>
            <a:gdLst>
              <a:gd name="T0" fmla="*/ 277 w 572"/>
              <a:gd name="T1" fmla="*/ 319 h 319"/>
              <a:gd name="T2" fmla="*/ 0 w 572"/>
              <a:gd name="T3" fmla="*/ 319 h 319"/>
              <a:gd name="T4" fmla="*/ 286 w 572"/>
              <a:gd name="T5" fmla="*/ 0 h 319"/>
              <a:gd name="T6" fmla="*/ 572 w 572"/>
              <a:gd name="T7" fmla="*/ 0 h 319"/>
              <a:gd name="T8" fmla="*/ 277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7" y="319"/>
                </a:moveTo>
                <a:lnTo>
                  <a:pt x="0" y="319"/>
                </a:lnTo>
                <a:lnTo>
                  <a:pt x="286" y="0"/>
                </a:lnTo>
                <a:lnTo>
                  <a:pt x="572" y="0"/>
                </a:lnTo>
                <a:lnTo>
                  <a:pt x="277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8" name="îşlídè">
            <a:extLst>
              <a:ext uri="{FF2B5EF4-FFF2-40B4-BE49-F238E27FC236}">
                <a16:creationId xmlns:a16="http://schemas.microsoft.com/office/drawing/2014/main" id="{62719D4A-8C7E-4A08-8C37-8C74B6F2A692}"/>
              </a:ext>
            </a:extLst>
          </p:cNvPr>
          <p:cNvSpPr/>
          <p:nvPr/>
        </p:nvSpPr>
        <p:spPr bwMode="auto">
          <a:xfrm>
            <a:off x="8135558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9" name="işļíḍè">
            <a:extLst>
              <a:ext uri="{FF2B5EF4-FFF2-40B4-BE49-F238E27FC236}">
                <a16:creationId xmlns:a16="http://schemas.microsoft.com/office/drawing/2014/main" id="{6A379346-5B7D-4CE1-99D9-05A1BA7934BB}"/>
              </a:ext>
            </a:extLst>
          </p:cNvPr>
          <p:cNvSpPr/>
          <p:nvPr/>
        </p:nvSpPr>
        <p:spPr bwMode="auto">
          <a:xfrm>
            <a:off x="8434013" y="4806429"/>
            <a:ext cx="535160" cy="298455"/>
          </a:xfrm>
          <a:custGeom>
            <a:avLst/>
            <a:gdLst>
              <a:gd name="T0" fmla="*/ 286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86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70" name="íšļïḑè">
            <a:extLst>
              <a:ext uri="{FF2B5EF4-FFF2-40B4-BE49-F238E27FC236}">
                <a16:creationId xmlns:a16="http://schemas.microsoft.com/office/drawing/2014/main" id="{6B5BBDA6-C249-4715-883A-E8035BF3BF4C}"/>
              </a:ext>
            </a:extLst>
          </p:cNvPr>
          <p:cNvSpPr/>
          <p:nvPr/>
        </p:nvSpPr>
        <p:spPr bwMode="auto">
          <a:xfrm>
            <a:off x="8731532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5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5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71" name="îšļïḋê">
            <a:extLst>
              <a:ext uri="{FF2B5EF4-FFF2-40B4-BE49-F238E27FC236}">
                <a16:creationId xmlns:a16="http://schemas.microsoft.com/office/drawing/2014/main" id="{8B584DD3-F706-4BEA-9877-635EEFFEED5A}"/>
              </a:ext>
            </a:extLst>
          </p:cNvPr>
          <p:cNvSpPr/>
          <p:nvPr/>
        </p:nvSpPr>
        <p:spPr bwMode="auto">
          <a:xfrm>
            <a:off x="6621765" y="5112369"/>
            <a:ext cx="2379926" cy="343364"/>
          </a:xfrm>
          <a:prstGeom prst="rect">
            <a:avLst/>
          </a:pr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2" name="îş1îde">
            <a:extLst>
              <a:ext uri="{FF2B5EF4-FFF2-40B4-BE49-F238E27FC236}">
                <a16:creationId xmlns:a16="http://schemas.microsoft.com/office/drawing/2014/main" id="{A469B0B3-F140-4833-B996-72EB33601183}"/>
              </a:ext>
            </a:extLst>
          </p:cNvPr>
          <p:cNvSpPr/>
          <p:nvPr/>
        </p:nvSpPr>
        <p:spPr bwMode="auto">
          <a:xfrm>
            <a:off x="4250421" y="4798944"/>
            <a:ext cx="2675802" cy="313425"/>
          </a:xfrm>
          <a:custGeom>
            <a:avLst/>
            <a:gdLst>
              <a:gd name="T0" fmla="*/ 2550 w 2860"/>
              <a:gd name="T1" fmla="*/ 335 h 335"/>
              <a:gd name="T2" fmla="*/ 0 w 2860"/>
              <a:gd name="T3" fmla="*/ 335 h 335"/>
              <a:gd name="T4" fmla="*/ 311 w 2860"/>
              <a:gd name="T5" fmla="*/ 0 h 335"/>
              <a:gd name="T6" fmla="*/ 2860 w 2860"/>
              <a:gd name="T7" fmla="*/ 0 h 335"/>
              <a:gd name="T8" fmla="*/ 2550 w 2860"/>
              <a:gd name="T9" fmla="*/ 335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60" h="335">
                <a:moveTo>
                  <a:pt x="2550" y="335"/>
                </a:moveTo>
                <a:lnTo>
                  <a:pt x="0" y="335"/>
                </a:lnTo>
                <a:lnTo>
                  <a:pt x="311" y="0"/>
                </a:lnTo>
                <a:lnTo>
                  <a:pt x="2860" y="0"/>
                </a:lnTo>
                <a:lnTo>
                  <a:pt x="2550" y="335"/>
                </a:lnTo>
                <a:close/>
              </a:path>
            </a:pathLst>
          </a:custGeom>
          <a:solidFill>
            <a:srgbClr val="3636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3" name="îş1íḓê">
            <a:extLst>
              <a:ext uri="{FF2B5EF4-FFF2-40B4-BE49-F238E27FC236}">
                <a16:creationId xmlns:a16="http://schemas.microsoft.com/office/drawing/2014/main" id="{B64FC1ED-314F-4275-B1C2-F2DD90800242}"/>
              </a:ext>
            </a:extLst>
          </p:cNvPr>
          <p:cNvSpPr/>
          <p:nvPr/>
        </p:nvSpPr>
        <p:spPr bwMode="auto">
          <a:xfrm>
            <a:off x="4288781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4" name="ísľíďè">
            <a:extLst>
              <a:ext uri="{FF2B5EF4-FFF2-40B4-BE49-F238E27FC236}">
                <a16:creationId xmlns:a16="http://schemas.microsoft.com/office/drawing/2014/main" id="{E6E8006C-0121-43D6-A1AC-08D7A7E0D2B1}"/>
              </a:ext>
            </a:extLst>
          </p:cNvPr>
          <p:cNvSpPr/>
          <p:nvPr/>
        </p:nvSpPr>
        <p:spPr bwMode="auto">
          <a:xfrm>
            <a:off x="4579750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5" name="îSľïḍè">
            <a:extLst>
              <a:ext uri="{FF2B5EF4-FFF2-40B4-BE49-F238E27FC236}">
                <a16:creationId xmlns:a16="http://schemas.microsoft.com/office/drawing/2014/main" id="{D46B9FED-4202-4BC0-9A51-93774CDCC12A}"/>
              </a:ext>
            </a:extLst>
          </p:cNvPr>
          <p:cNvSpPr/>
          <p:nvPr/>
        </p:nvSpPr>
        <p:spPr bwMode="auto">
          <a:xfrm>
            <a:off x="4877270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6" name="í$ḷiḑê">
            <a:extLst>
              <a:ext uri="{FF2B5EF4-FFF2-40B4-BE49-F238E27FC236}">
                <a16:creationId xmlns:a16="http://schemas.microsoft.com/office/drawing/2014/main" id="{2BE48DAA-47B6-4C9E-AA4B-D14C222078E0}"/>
              </a:ext>
            </a:extLst>
          </p:cNvPr>
          <p:cNvSpPr/>
          <p:nvPr/>
        </p:nvSpPr>
        <p:spPr bwMode="auto">
          <a:xfrm>
            <a:off x="5175725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7" name="íŝļïďè">
            <a:extLst>
              <a:ext uri="{FF2B5EF4-FFF2-40B4-BE49-F238E27FC236}">
                <a16:creationId xmlns:a16="http://schemas.microsoft.com/office/drawing/2014/main" id="{3E0A52D2-8D67-419C-B1E2-A55D11A67943}"/>
              </a:ext>
            </a:extLst>
          </p:cNvPr>
          <p:cNvSpPr/>
          <p:nvPr/>
        </p:nvSpPr>
        <p:spPr bwMode="auto">
          <a:xfrm>
            <a:off x="5474179" y="4806429"/>
            <a:ext cx="535160" cy="298455"/>
          </a:xfrm>
          <a:custGeom>
            <a:avLst/>
            <a:gdLst>
              <a:gd name="T0" fmla="*/ 277 w 572"/>
              <a:gd name="T1" fmla="*/ 319 h 319"/>
              <a:gd name="T2" fmla="*/ 0 w 572"/>
              <a:gd name="T3" fmla="*/ 319 h 319"/>
              <a:gd name="T4" fmla="*/ 286 w 572"/>
              <a:gd name="T5" fmla="*/ 0 h 319"/>
              <a:gd name="T6" fmla="*/ 572 w 572"/>
              <a:gd name="T7" fmla="*/ 0 h 319"/>
              <a:gd name="T8" fmla="*/ 277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7" y="319"/>
                </a:moveTo>
                <a:lnTo>
                  <a:pt x="0" y="319"/>
                </a:lnTo>
                <a:lnTo>
                  <a:pt x="286" y="0"/>
                </a:lnTo>
                <a:lnTo>
                  <a:pt x="572" y="0"/>
                </a:lnTo>
                <a:lnTo>
                  <a:pt x="277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8" name="îşlídè">
            <a:extLst>
              <a:ext uri="{FF2B5EF4-FFF2-40B4-BE49-F238E27FC236}">
                <a16:creationId xmlns:a16="http://schemas.microsoft.com/office/drawing/2014/main" id="{63679F1D-0598-4685-B5DF-A8524096B9B1}"/>
              </a:ext>
            </a:extLst>
          </p:cNvPr>
          <p:cNvSpPr/>
          <p:nvPr/>
        </p:nvSpPr>
        <p:spPr bwMode="auto">
          <a:xfrm>
            <a:off x="576421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9" name="işļíḍè">
            <a:extLst>
              <a:ext uri="{FF2B5EF4-FFF2-40B4-BE49-F238E27FC236}">
                <a16:creationId xmlns:a16="http://schemas.microsoft.com/office/drawing/2014/main" id="{B1B13366-3295-435A-B407-18FA26F0D96A}"/>
              </a:ext>
            </a:extLst>
          </p:cNvPr>
          <p:cNvSpPr/>
          <p:nvPr/>
        </p:nvSpPr>
        <p:spPr bwMode="auto">
          <a:xfrm>
            <a:off x="6062669" y="4806429"/>
            <a:ext cx="535160" cy="298455"/>
          </a:xfrm>
          <a:custGeom>
            <a:avLst/>
            <a:gdLst>
              <a:gd name="T0" fmla="*/ 286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86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0" name="íšļïḑè">
            <a:extLst>
              <a:ext uri="{FF2B5EF4-FFF2-40B4-BE49-F238E27FC236}">
                <a16:creationId xmlns:a16="http://schemas.microsoft.com/office/drawing/2014/main" id="{8FA7549E-26F4-4DEC-9004-6DC128691062}"/>
              </a:ext>
            </a:extLst>
          </p:cNvPr>
          <p:cNvSpPr/>
          <p:nvPr/>
        </p:nvSpPr>
        <p:spPr bwMode="auto">
          <a:xfrm>
            <a:off x="6360188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5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5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1" name="îšļïḋê">
            <a:extLst>
              <a:ext uri="{FF2B5EF4-FFF2-40B4-BE49-F238E27FC236}">
                <a16:creationId xmlns:a16="http://schemas.microsoft.com/office/drawing/2014/main" id="{E357F577-D208-4BB4-A49D-E2AB2BB578F4}"/>
              </a:ext>
            </a:extLst>
          </p:cNvPr>
          <p:cNvSpPr/>
          <p:nvPr/>
        </p:nvSpPr>
        <p:spPr bwMode="auto">
          <a:xfrm>
            <a:off x="4250421" y="5112369"/>
            <a:ext cx="2379926" cy="343364"/>
          </a:xfrm>
          <a:prstGeom prst="rect">
            <a:avLst/>
          </a:pr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2" name="îş1îde">
            <a:extLst>
              <a:ext uri="{FF2B5EF4-FFF2-40B4-BE49-F238E27FC236}">
                <a16:creationId xmlns:a16="http://schemas.microsoft.com/office/drawing/2014/main" id="{828062CA-9052-462C-87FD-CA777518FAA6}"/>
              </a:ext>
            </a:extLst>
          </p:cNvPr>
          <p:cNvSpPr/>
          <p:nvPr/>
        </p:nvSpPr>
        <p:spPr bwMode="auto">
          <a:xfrm>
            <a:off x="1888221" y="4798944"/>
            <a:ext cx="2675802" cy="313425"/>
          </a:xfrm>
          <a:custGeom>
            <a:avLst/>
            <a:gdLst>
              <a:gd name="T0" fmla="*/ 2550 w 2860"/>
              <a:gd name="T1" fmla="*/ 335 h 335"/>
              <a:gd name="T2" fmla="*/ 0 w 2860"/>
              <a:gd name="T3" fmla="*/ 335 h 335"/>
              <a:gd name="T4" fmla="*/ 311 w 2860"/>
              <a:gd name="T5" fmla="*/ 0 h 335"/>
              <a:gd name="T6" fmla="*/ 2860 w 2860"/>
              <a:gd name="T7" fmla="*/ 0 h 335"/>
              <a:gd name="T8" fmla="*/ 2550 w 2860"/>
              <a:gd name="T9" fmla="*/ 335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60" h="335">
                <a:moveTo>
                  <a:pt x="2550" y="335"/>
                </a:moveTo>
                <a:lnTo>
                  <a:pt x="0" y="335"/>
                </a:lnTo>
                <a:lnTo>
                  <a:pt x="311" y="0"/>
                </a:lnTo>
                <a:lnTo>
                  <a:pt x="2860" y="0"/>
                </a:lnTo>
                <a:lnTo>
                  <a:pt x="2550" y="335"/>
                </a:lnTo>
                <a:close/>
              </a:path>
            </a:pathLst>
          </a:custGeom>
          <a:solidFill>
            <a:srgbClr val="3636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3" name="îş1íḓê">
            <a:extLst>
              <a:ext uri="{FF2B5EF4-FFF2-40B4-BE49-F238E27FC236}">
                <a16:creationId xmlns:a16="http://schemas.microsoft.com/office/drawing/2014/main" id="{2BA5A467-039A-4DEF-AA81-19E5AB7614BC}"/>
              </a:ext>
            </a:extLst>
          </p:cNvPr>
          <p:cNvSpPr/>
          <p:nvPr/>
        </p:nvSpPr>
        <p:spPr bwMode="auto">
          <a:xfrm>
            <a:off x="1926581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4" name="ísľíďè">
            <a:extLst>
              <a:ext uri="{FF2B5EF4-FFF2-40B4-BE49-F238E27FC236}">
                <a16:creationId xmlns:a16="http://schemas.microsoft.com/office/drawing/2014/main" id="{0E44D559-31C1-45E5-A7DC-5A2E16B0F4D6}"/>
              </a:ext>
            </a:extLst>
          </p:cNvPr>
          <p:cNvSpPr/>
          <p:nvPr/>
        </p:nvSpPr>
        <p:spPr bwMode="auto">
          <a:xfrm>
            <a:off x="2217550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5" name="îSľïḍè">
            <a:extLst>
              <a:ext uri="{FF2B5EF4-FFF2-40B4-BE49-F238E27FC236}">
                <a16:creationId xmlns:a16="http://schemas.microsoft.com/office/drawing/2014/main" id="{2D000311-105D-42F4-8370-8DA32BC9A9C5}"/>
              </a:ext>
            </a:extLst>
          </p:cNvPr>
          <p:cNvSpPr/>
          <p:nvPr/>
        </p:nvSpPr>
        <p:spPr bwMode="auto">
          <a:xfrm>
            <a:off x="2515070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6" name="í$ḷiḑê">
            <a:extLst>
              <a:ext uri="{FF2B5EF4-FFF2-40B4-BE49-F238E27FC236}">
                <a16:creationId xmlns:a16="http://schemas.microsoft.com/office/drawing/2014/main" id="{14B4A0D0-B9D9-44D0-9CD8-E2C09EB9CCA1}"/>
              </a:ext>
            </a:extLst>
          </p:cNvPr>
          <p:cNvSpPr/>
          <p:nvPr/>
        </p:nvSpPr>
        <p:spPr bwMode="auto">
          <a:xfrm>
            <a:off x="2813525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7" name="íŝļïďè">
            <a:extLst>
              <a:ext uri="{FF2B5EF4-FFF2-40B4-BE49-F238E27FC236}">
                <a16:creationId xmlns:a16="http://schemas.microsoft.com/office/drawing/2014/main" id="{21931DF6-C745-4293-A996-3DCDC0AC1EAE}"/>
              </a:ext>
            </a:extLst>
          </p:cNvPr>
          <p:cNvSpPr/>
          <p:nvPr/>
        </p:nvSpPr>
        <p:spPr bwMode="auto">
          <a:xfrm>
            <a:off x="3111979" y="4806429"/>
            <a:ext cx="535160" cy="298455"/>
          </a:xfrm>
          <a:custGeom>
            <a:avLst/>
            <a:gdLst>
              <a:gd name="T0" fmla="*/ 277 w 572"/>
              <a:gd name="T1" fmla="*/ 319 h 319"/>
              <a:gd name="T2" fmla="*/ 0 w 572"/>
              <a:gd name="T3" fmla="*/ 319 h 319"/>
              <a:gd name="T4" fmla="*/ 286 w 572"/>
              <a:gd name="T5" fmla="*/ 0 h 319"/>
              <a:gd name="T6" fmla="*/ 572 w 572"/>
              <a:gd name="T7" fmla="*/ 0 h 319"/>
              <a:gd name="T8" fmla="*/ 277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7" y="319"/>
                </a:moveTo>
                <a:lnTo>
                  <a:pt x="0" y="319"/>
                </a:lnTo>
                <a:lnTo>
                  <a:pt x="286" y="0"/>
                </a:lnTo>
                <a:lnTo>
                  <a:pt x="572" y="0"/>
                </a:lnTo>
                <a:lnTo>
                  <a:pt x="277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8" name="îşlídè">
            <a:extLst>
              <a:ext uri="{FF2B5EF4-FFF2-40B4-BE49-F238E27FC236}">
                <a16:creationId xmlns:a16="http://schemas.microsoft.com/office/drawing/2014/main" id="{10E034EA-CF34-4627-9C04-EB39D38AD7A4}"/>
              </a:ext>
            </a:extLst>
          </p:cNvPr>
          <p:cNvSpPr/>
          <p:nvPr/>
        </p:nvSpPr>
        <p:spPr bwMode="auto">
          <a:xfrm>
            <a:off x="340201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9" name="işļíḍè">
            <a:extLst>
              <a:ext uri="{FF2B5EF4-FFF2-40B4-BE49-F238E27FC236}">
                <a16:creationId xmlns:a16="http://schemas.microsoft.com/office/drawing/2014/main" id="{2822F856-4500-46B7-AC1A-4179A81164AF}"/>
              </a:ext>
            </a:extLst>
          </p:cNvPr>
          <p:cNvSpPr/>
          <p:nvPr/>
        </p:nvSpPr>
        <p:spPr bwMode="auto">
          <a:xfrm>
            <a:off x="3700469" y="4806429"/>
            <a:ext cx="535160" cy="298455"/>
          </a:xfrm>
          <a:custGeom>
            <a:avLst/>
            <a:gdLst>
              <a:gd name="T0" fmla="*/ 286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86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0" name="íšļïḑè">
            <a:extLst>
              <a:ext uri="{FF2B5EF4-FFF2-40B4-BE49-F238E27FC236}">
                <a16:creationId xmlns:a16="http://schemas.microsoft.com/office/drawing/2014/main" id="{4DA52C37-5F76-4E29-A5A8-9F18791EFA7F}"/>
              </a:ext>
            </a:extLst>
          </p:cNvPr>
          <p:cNvSpPr/>
          <p:nvPr/>
        </p:nvSpPr>
        <p:spPr bwMode="auto">
          <a:xfrm>
            <a:off x="3997988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5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5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1" name="îšļïḋê">
            <a:extLst>
              <a:ext uri="{FF2B5EF4-FFF2-40B4-BE49-F238E27FC236}">
                <a16:creationId xmlns:a16="http://schemas.microsoft.com/office/drawing/2014/main" id="{AD81DCA3-6A72-43CE-A26D-7658E85CFF94}"/>
              </a:ext>
            </a:extLst>
          </p:cNvPr>
          <p:cNvSpPr/>
          <p:nvPr/>
        </p:nvSpPr>
        <p:spPr bwMode="auto">
          <a:xfrm>
            <a:off x="1888221" y="5112369"/>
            <a:ext cx="2379926" cy="343364"/>
          </a:xfrm>
          <a:prstGeom prst="rect">
            <a:avLst/>
          </a:pr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218" name="任意多边形: 形状 217">
            <a:extLst>
              <a:ext uri="{FF2B5EF4-FFF2-40B4-BE49-F238E27FC236}">
                <a16:creationId xmlns:a16="http://schemas.microsoft.com/office/drawing/2014/main" id="{64E3BAD5-F9AE-4EE9-8212-72ECF0F054AF}"/>
              </a:ext>
            </a:extLst>
          </p:cNvPr>
          <p:cNvSpPr/>
          <p:nvPr/>
        </p:nvSpPr>
        <p:spPr bwMode="auto">
          <a:xfrm>
            <a:off x="1" y="4798944"/>
            <a:ext cx="2201823" cy="313425"/>
          </a:xfrm>
          <a:custGeom>
            <a:avLst/>
            <a:gdLst>
              <a:gd name="connsiteX0" fmla="*/ 0 w 2201823"/>
              <a:gd name="connsiteY0" fmla="*/ 0 h 313425"/>
              <a:gd name="connsiteX1" fmla="*/ 2201823 w 2201823"/>
              <a:gd name="connsiteY1" fmla="*/ 0 h 313425"/>
              <a:gd name="connsiteX2" fmla="*/ 1911789 w 2201823"/>
              <a:gd name="connsiteY2" fmla="*/ 313425 h 313425"/>
              <a:gd name="connsiteX3" fmla="*/ 0 w 2201823"/>
              <a:gd name="connsiteY3" fmla="*/ 313425 h 31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1823" h="313425">
                <a:moveTo>
                  <a:pt x="0" y="0"/>
                </a:moveTo>
                <a:lnTo>
                  <a:pt x="2201823" y="0"/>
                </a:lnTo>
                <a:lnTo>
                  <a:pt x="1911789" y="313425"/>
                </a:lnTo>
                <a:lnTo>
                  <a:pt x="0" y="313425"/>
                </a:lnTo>
                <a:close/>
              </a:path>
            </a:pathLst>
          </a:custGeom>
          <a:solidFill>
            <a:srgbClr val="3636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217" name="任意多边形: 形状 216">
            <a:extLst>
              <a:ext uri="{FF2B5EF4-FFF2-40B4-BE49-F238E27FC236}">
                <a16:creationId xmlns:a16="http://schemas.microsoft.com/office/drawing/2014/main" id="{362EA956-766C-4111-BF8F-FEE9376E3BA8}"/>
              </a:ext>
            </a:extLst>
          </p:cNvPr>
          <p:cNvSpPr/>
          <p:nvPr/>
        </p:nvSpPr>
        <p:spPr bwMode="auto">
          <a:xfrm>
            <a:off x="1" y="4806429"/>
            <a:ext cx="99541" cy="108006"/>
          </a:xfrm>
          <a:custGeom>
            <a:avLst/>
            <a:gdLst>
              <a:gd name="connsiteX0" fmla="*/ 0 w 99541"/>
              <a:gd name="connsiteY0" fmla="*/ 0 h 108006"/>
              <a:gd name="connsiteX1" fmla="*/ 99541 w 99541"/>
              <a:gd name="connsiteY1" fmla="*/ 0 h 108006"/>
              <a:gd name="connsiteX2" fmla="*/ 0 w 99541"/>
              <a:gd name="connsiteY2" fmla="*/ 108006 h 108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541" h="108006">
                <a:moveTo>
                  <a:pt x="0" y="0"/>
                </a:moveTo>
                <a:lnTo>
                  <a:pt x="99541" y="0"/>
                </a:lnTo>
                <a:lnTo>
                  <a:pt x="0" y="108006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219" name="任意多边形: 形状 218">
            <a:extLst>
              <a:ext uri="{FF2B5EF4-FFF2-40B4-BE49-F238E27FC236}">
                <a16:creationId xmlns:a16="http://schemas.microsoft.com/office/drawing/2014/main" id="{FD7B9418-0FCB-4E7C-8D13-12F9E9C06C3A}"/>
              </a:ext>
            </a:extLst>
          </p:cNvPr>
          <p:cNvSpPr/>
          <p:nvPr/>
        </p:nvSpPr>
        <p:spPr bwMode="auto">
          <a:xfrm>
            <a:off x="0" y="4806429"/>
            <a:ext cx="397995" cy="298455"/>
          </a:xfrm>
          <a:custGeom>
            <a:avLst/>
            <a:gdLst>
              <a:gd name="connsiteX0" fmla="*/ 130415 w 397995"/>
              <a:gd name="connsiteY0" fmla="*/ 0 h 298455"/>
              <a:gd name="connsiteX1" fmla="*/ 397995 w 397995"/>
              <a:gd name="connsiteY1" fmla="*/ 0 h 298455"/>
              <a:gd name="connsiteX2" fmla="*/ 122930 w 397995"/>
              <a:gd name="connsiteY2" fmla="*/ 298455 h 298455"/>
              <a:gd name="connsiteX3" fmla="*/ 0 w 397995"/>
              <a:gd name="connsiteY3" fmla="*/ 298455 h 298455"/>
              <a:gd name="connsiteX4" fmla="*/ 0 w 397995"/>
              <a:gd name="connsiteY4" fmla="*/ 141505 h 298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995" h="298455">
                <a:moveTo>
                  <a:pt x="130415" y="0"/>
                </a:moveTo>
                <a:lnTo>
                  <a:pt x="397995" y="0"/>
                </a:lnTo>
                <a:lnTo>
                  <a:pt x="122930" y="298455"/>
                </a:lnTo>
                <a:lnTo>
                  <a:pt x="0" y="298455"/>
                </a:lnTo>
                <a:lnTo>
                  <a:pt x="0" y="141505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5" name="îSľïḍè">
            <a:extLst>
              <a:ext uri="{FF2B5EF4-FFF2-40B4-BE49-F238E27FC236}">
                <a16:creationId xmlns:a16="http://schemas.microsoft.com/office/drawing/2014/main" id="{B288F4E8-68BD-4709-960A-50C8F6D8C962}"/>
              </a:ext>
            </a:extLst>
          </p:cNvPr>
          <p:cNvSpPr/>
          <p:nvPr/>
        </p:nvSpPr>
        <p:spPr bwMode="auto">
          <a:xfrm>
            <a:off x="152870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6" name="í$ḷiḑê">
            <a:extLst>
              <a:ext uri="{FF2B5EF4-FFF2-40B4-BE49-F238E27FC236}">
                <a16:creationId xmlns:a16="http://schemas.microsoft.com/office/drawing/2014/main" id="{5102A321-77A7-4DFB-839A-1FA5B330E7BF}"/>
              </a:ext>
            </a:extLst>
          </p:cNvPr>
          <p:cNvSpPr/>
          <p:nvPr/>
        </p:nvSpPr>
        <p:spPr bwMode="auto">
          <a:xfrm>
            <a:off x="451325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7" name="íŝļïďè">
            <a:extLst>
              <a:ext uri="{FF2B5EF4-FFF2-40B4-BE49-F238E27FC236}">
                <a16:creationId xmlns:a16="http://schemas.microsoft.com/office/drawing/2014/main" id="{E6AD6E48-C5F0-47B6-B6AB-20589E14302F}"/>
              </a:ext>
            </a:extLst>
          </p:cNvPr>
          <p:cNvSpPr/>
          <p:nvPr/>
        </p:nvSpPr>
        <p:spPr bwMode="auto">
          <a:xfrm>
            <a:off x="749779" y="4806429"/>
            <a:ext cx="535160" cy="298455"/>
          </a:xfrm>
          <a:custGeom>
            <a:avLst/>
            <a:gdLst>
              <a:gd name="T0" fmla="*/ 277 w 572"/>
              <a:gd name="T1" fmla="*/ 319 h 319"/>
              <a:gd name="T2" fmla="*/ 0 w 572"/>
              <a:gd name="T3" fmla="*/ 319 h 319"/>
              <a:gd name="T4" fmla="*/ 286 w 572"/>
              <a:gd name="T5" fmla="*/ 0 h 319"/>
              <a:gd name="T6" fmla="*/ 572 w 572"/>
              <a:gd name="T7" fmla="*/ 0 h 319"/>
              <a:gd name="T8" fmla="*/ 277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7" y="319"/>
                </a:moveTo>
                <a:lnTo>
                  <a:pt x="0" y="319"/>
                </a:lnTo>
                <a:lnTo>
                  <a:pt x="286" y="0"/>
                </a:lnTo>
                <a:lnTo>
                  <a:pt x="572" y="0"/>
                </a:lnTo>
                <a:lnTo>
                  <a:pt x="277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8" name="îşlídè">
            <a:extLst>
              <a:ext uri="{FF2B5EF4-FFF2-40B4-BE49-F238E27FC236}">
                <a16:creationId xmlns:a16="http://schemas.microsoft.com/office/drawing/2014/main" id="{3BDE4F78-AE27-451F-AA65-39D2DF1C8BE7}"/>
              </a:ext>
            </a:extLst>
          </p:cNvPr>
          <p:cNvSpPr/>
          <p:nvPr/>
        </p:nvSpPr>
        <p:spPr bwMode="auto">
          <a:xfrm>
            <a:off x="103981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9" name="işļíḍè">
            <a:extLst>
              <a:ext uri="{FF2B5EF4-FFF2-40B4-BE49-F238E27FC236}">
                <a16:creationId xmlns:a16="http://schemas.microsoft.com/office/drawing/2014/main" id="{F438F2F5-4216-48A2-B068-32BC6619B74E}"/>
              </a:ext>
            </a:extLst>
          </p:cNvPr>
          <p:cNvSpPr/>
          <p:nvPr/>
        </p:nvSpPr>
        <p:spPr bwMode="auto">
          <a:xfrm>
            <a:off x="1338269" y="4806429"/>
            <a:ext cx="535160" cy="298455"/>
          </a:xfrm>
          <a:custGeom>
            <a:avLst/>
            <a:gdLst>
              <a:gd name="T0" fmla="*/ 286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86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0" name="íšļïḑè">
            <a:extLst>
              <a:ext uri="{FF2B5EF4-FFF2-40B4-BE49-F238E27FC236}">
                <a16:creationId xmlns:a16="http://schemas.microsoft.com/office/drawing/2014/main" id="{3EC5B88D-A3EF-45FD-BC83-F20830D43419}"/>
              </a:ext>
            </a:extLst>
          </p:cNvPr>
          <p:cNvSpPr/>
          <p:nvPr/>
        </p:nvSpPr>
        <p:spPr bwMode="auto">
          <a:xfrm>
            <a:off x="1635788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5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5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216" name="任意多边形: 形状 215">
            <a:extLst>
              <a:ext uri="{FF2B5EF4-FFF2-40B4-BE49-F238E27FC236}">
                <a16:creationId xmlns:a16="http://schemas.microsoft.com/office/drawing/2014/main" id="{C32AA9C4-8209-4A37-9B26-353163D62E54}"/>
              </a:ext>
            </a:extLst>
          </p:cNvPr>
          <p:cNvSpPr/>
          <p:nvPr/>
        </p:nvSpPr>
        <p:spPr bwMode="auto">
          <a:xfrm>
            <a:off x="1" y="5112369"/>
            <a:ext cx="1905947" cy="343364"/>
          </a:xfrm>
          <a:custGeom>
            <a:avLst/>
            <a:gdLst>
              <a:gd name="connsiteX0" fmla="*/ 0 w 1905947"/>
              <a:gd name="connsiteY0" fmla="*/ 0 h 343364"/>
              <a:gd name="connsiteX1" fmla="*/ 1905947 w 1905947"/>
              <a:gd name="connsiteY1" fmla="*/ 0 h 343364"/>
              <a:gd name="connsiteX2" fmla="*/ 1905947 w 1905947"/>
              <a:gd name="connsiteY2" fmla="*/ 343364 h 343364"/>
              <a:gd name="connsiteX3" fmla="*/ 0 w 1905947"/>
              <a:gd name="connsiteY3" fmla="*/ 343364 h 34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947" h="343364">
                <a:moveTo>
                  <a:pt x="0" y="0"/>
                </a:moveTo>
                <a:lnTo>
                  <a:pt x="1905947" y="0"/>
                </a:lnTo>
                <a:lnTo>
                  <a:pt x="1905947" y="343364"/>
                </a:lnTo>
                <a:lnTo>
                  <a:pt x="0" y="343364"/>
                </a:lnTo>
                <a:close/>
              </a:path>
            </a:pathLst>
          </a:cu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grpSp>
        <p:nvGrpSpPr>
          <p:cNvPr id="172" name="组合 171">
            <a:extLst>
              <a:ext uri="{FF2B5EF4-FFF2-40B4-BE49-F238E27FC236}">
                <a16:creationId xmlns:a16="http://schemas.microsoft.com/office/drawing/2014/main" id="{F7A054D5-929B-4B9D-974A-31D26A700E02}"/>
              </a:ext>
            </a:extLst>
          </p:cNvPr>
          <p:cNvGrpSpPr/>
          <p:nvPr/>
        </p:nvGrpSpPr>
        <p:grpSpPr>
          <a:xfrm>
            <a:off x="517026" y="2977480"/>
            <a:ext cx="1892580" cy="2070572"/>
            <a:chOff x="164632" y="2987274"/>
            <a:chExt cx="1983137" cy="2169647"/>
          </a:xfrm>
        </p:grpSpPr>
        <p:grpSp>
          <p:nvGrpSpPr>
            <p:cNvPr id="173" name="组合 172">
              <a:extLst>
                <a:ext uri="{FF2B5EF4-FFF2-40B4-BE49-F238E27FC236}">
                  <a16:creationId xmlns:a16="http://schemas.microsoft.com/office/drawing/2014/main" id="{DE5ABB88-3630-41C6-878A-5D34049E5EF6}"/>
                </a:ext>
              </a:extLst>
            </p:cNvPr>
            <p:cNvGrpSpPr/>
            <p:nvPr/>
          </p:nvGrpSpPr>
          <p:grpSpPr>
            <a:xfrm>
              <a:off x="164632" y="4894285"/>
              <a:ext cx="405114" cy="260096"/>
              <a:chOff x="4742689" y="4248832"/>
              <a:chExt cx="405114" cy="260096"/>
            </a:xfrm>
          </p:grpSpPr>
          <p:sp>
            <p:nvSpPr>
              <p:cNvPr id="213" name="isḻiḓè">
                <a:extLst>
                  <a:ext uri="{FF2B5EF4-FFF2-40B4-BE49-F238E27FC236}">
                    <a16:creationId xmlns:a16="http://schemas.microsoft.com/office/drawing/2014/main" id="{CA2ED3B5-4C94-447C-927F-A067BAA23273}"/>
                  </a:ext>
                </a:extLst>
              </p:cNvPr>
              <p:cNvSpPr/>
              <p:nvPr/>
            </p:nvSpPr>
            <p:spPr bwMode="auto">
              <a:xfrm>
                <a:off x="4742689" y="4272222"/>
                <a:ext cx="405113" cy="236706"/>
              </a:xfrm>
              <a:custGeom>
                <a:avLst/>
                <a:gdLst>
                  <a:gd name="T0" fmla="*/ 53 w 53"/>
                  <a:gd name="T1" fmla="*/ 18 h 31"/>
                  <a:gd name="T2" fmla="*/ 53 w 53"/>
                  <a:gd name="T3" fmla="*/ 12 h 31"/>
                  <a:gd name="T4" fmla="*/ 49 w 53"/>
                  <a:gd name="T5" fmla="*/ 11 h 31"/>
                  <a:gd name="T6" fmla="*/ 50 w 53"/>
                  <a:gd name="T7" fmla="*/ 10 h 31"/>
                  <a:gd name="T8" fmla="*/ 43 w 53"/>
                  <a:gd name="T9" fmla="*/ 5 h 31"/>
                  <a:gd name="T10" fmla="*/ 41 w 53"/>
                  <a:gd name="T11" fmla="*/ 0 h 31"/>
                  <a:gd name="T12" fmla="*/ 19 w 53"/>
                  <a:gd name="T13" fmla="*/ 2 h 31"/>
                  <a:gd name="T14" fmla="*/ 12 w 53"/>
                  <a:gd name="T15" fmla="*/ 4 h 31"/>
                  <a:gd name="T16" fmla="*/ 4 w 53"/>
                  <a:gd name="T17" fmla="*/ 6 h 31"/>
                  <a:gd name="T18" fmla="*/ 0 w 53"/>
                  <a:gd name="T19" fmla="*/ 13 h 31"/>
                  <a:gd name="T20" fmla="*/ 1 w 53"/>
                  <a:gd name="T21" fmla="*/ 19 h 31"/>
                  <a:gd name="T22" fmla="*/ 2 w 53"/>
                  <a:gd name="T23" fmla="*/ 20 h 31"/>
                  <a:gd name="T24" fmla="*/ 2 w 53"/>
                  <a:gd name="T25" fmla="*/ 23 h 31"/>
                  <a:gd name="T26" fmla="*/ 4 w 53"/>
                  <a:gd name="T27" fmla="*/ 26 h 31"/>
                  <a:gd name="T28" fmla="*/ 9 w 53"/>
                  <a:gd name="T29" fmla="*/ 25 h 31"/>
                  <a:gd name="T30" fmla="*/ 10 w 53"/>
                  <a:gd name="T31" fmla="*/ 28 h 31"/>
                  <a:gd name="T32" fmla="*/ 14 w 53"/>
                  <a:gd name="T33" fmla="*/ 30 h 31"/>
                  <a:gd name="T34" fmla="*/ 18 w 53"/>
                  <a:gd name="T35" fmla="*/ 29 h 31"/>
                  <a:gd name="T36" fmla="*/ 22 w 53"/>
                  <a:gd name="T37" fmla="*/ 31 h 31"/>
                  <a:gd name="T38" fmla="*/ 29 w 53"/>
                  <a:gd name="T39" fmla="*/ 31 h 31"/>
                  <a:gd name="T40" fmla="*/ 31 w 53"/>
                  <a:gd name="T41" fmla="*/ 29 h 31"/>
                  <a:gd name="T42" fmla="*/ 36 w 53"/>
                  <a:gd name="T43" fmla="*/ 30 h 31"/>
                  <a:gd name="T44" fmla="*/ 43 w 53"/>
                  <a:gd name="T45" fmla="*/ 29 h 31"/>
                  <a:gd name="T46" fmla="*/ 43 w 53"/>
                  <a:gd name="T47" fmla="*/ 28 h 31"/>
                  <a:gd name="T48" fmla="*/ 43 w 53"/>
                  <a:gd name="T49" fmla="*/ 28 h 31"/>
                  <a:gd name="T50" fmla="*/ 45 w 53"/>
                  <a:gd name="T51" fmla="*/ 25 h 31"/>
                  <a:gd name="T52" fmla="*/ 49 w 53"/>
                  <a:gd name="T53" fmla="*/ 25 h 31"/>
                  <a:gd name="T54" fmla="*/ 51 w 53"/>
                  <a:gd name="T55" fmla="*/ 23 h 31"/>
                  <a:gd name="T56" fmla="*/ 51 w 53"/>
                  <a:gd name="T57" fmla="*/ 19 h 31"/>
                  <a:gd name="T58" fmla="*/ 53 w 53"/>
                  <a:gd name="T59" fmla="*/ 19 h 31"/>
                  <a:gd name="T60" fmla="*/ 38 w 53"/>
                  <a:gd name="T61" fmla="*/ 20 h 31"/>
                  <a:gd name="T62" fmla="*/ 13 w 53"/>
                  <a:gd name="T63" fmla="*/ 18 h 31"/>
                  <a:gd name="T64" fmla="*/ 27 w 53"/>
                  <a:gd name="T65" fmla="*/ 10 h 31"/>
                  <a:gd name="T66" fmla="*/ 38 w 53"/>
                  <a:gd name="T67" fmla="*/ 2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3" h="31">
                    <a:moveTo>
                      <a:pt x="53" y="19"/>
                    </a:move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2"/>
                      <a:pt x="53" y="12"/>
                      <a:pt x="53" y="12"/>
                    </a:cubicBezTo>
                    <a:cubicBezTo>
                      <a:pt x="50" y="12"/>
                      <a:pt x="50" y="12"/>
                      <a:pt x="50" y="12"/>
                    </a:cubicBezTo>
                    <a:cubicBezTo>
                      <a:pt x="49" y="11"/>
                      <a:pt x="49" y="11"/>
                      <a:pt x="49" y="11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1" y="19"/>
                      <a:pt x="1" y="20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4" y="26"/>
                      <a:pt x="5" y="26"/>
                      <a:pt x="6" y="2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9" y="25"/>
                      <a:pt x="9" y="26"/>
                      <a:pt x="10" y="26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0" y="28"/>
                      <a:pt x="10" y="29"/>
                      <a:pt x="11" y="29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5" y="30"/>
                      <a:pt x="16" y="30"/>
                      <a:pt x="17" y="30"/>
                    </a:cubicBezTo>
                    <a:cubicBezTo>
                      <a:pt x="18" y="29"/>
                      <a:pt x="18" y="29"/>
                      <a:pt x="18" y="29"/>
                    </a:cubicBezTo>
                    <a:cubicBezTo>
                      <a:pt x="20" y="29"/>
                      <a:pt x="21" y="29"/>
                      <a:pt x="23" y="29"/>
                    </a:cubicBezTo>
                    <a:cubicBezTo>
                      <a:pt x="22" y="31"/>
                      <a:pt x="22" y="31"/>
                      <a:pt x="22" y="31"/>
                    </a:cubicBezTo>
                    <a:cubicBezTo>
                      <a:pt x="22" y="31"/>
                      <a:pt x="23" y="31"/>
                      <a:pt x="24" y="31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30" y="31"/>
                      <a:pt x="31" y="31"/>
                      <a:pt x="31" y="30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32" y="29"/>
                      <a:pt x="33" y="29"/>
                      <a:pt x="35" y="29"/>
                    </a:cubicBezTo>
                    <a:cubicBezTo>
                      <a:pt x="36" y="30"/>
                      <a:pt x="36" y="30"/>
                      <a:pt x="36" y="30"/>
                    </a:cubicBezTo>
                    <a:cubicBezTo>
                      <a:pt x="37" y="30"/>
                      <a:pt x="38" y="30"/>
                      <a:pt x="39" y="30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3" y="29"/>
                      <a:pt x="43" y="29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4" y="26"/>
                      <a:pt x="44" y="25"/>
                      <a:pt x="45" y="25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8" y="26"/>
                      <a:pt x="49" y="26"/>
                      <a:pt x="49" y="25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1"/>
                      <a:pt x="51" y="19"/>
                    </a:cubicBezTo>
                    <a:cubicBezTo>
                      <a:pt x="51" y="19"/>
                      <a:pt x="51" y="19"/>
                      <a:pt x="51" y="19"/>
                    </a:cubicBezTo>
                    <a:cubicBezTo>
                      <a:pt x="52" y="19"/>
                      <a:pt x="53" y="19"/>
                      <a:pt x="53" y="19"/>
                    </a:cubicBezTo>
                    <a:cubicBezTo>
                      <a:pt x="53" y="19"/>
                      <a:pt x="53" y="19"/>
                      <a:pt x="53" y="19"/>
                    </a:cubicBezTo>
                    <a:close/>
                    <a:moveTo>
                      <a:pt x="38" y="20"/>
                    </a:moveTo>
                    <a:cubicBezTo>
                      <a:pt x="36" y="22"/>
                      <a:pt x="32" y="21"/>
                      <a:pt x="27" y="21"/>
                    </a:cubicBezTo>
                    <a:cubicBezTo>
                      <a:pt x="19" y="21"/>
                      <a:pt x="13" y="22"/>
                      <a:pt x="13" y="18"/>
                    </a:cubicBezTo>
                    <a:cubicBezTo>
                      <a:pt x="13" y="16"/>
                      <a:pt x="14" y="15"/>
                      <a:pt x="16" y="14"/>
                    </a:cubicBezTo>
                    <a:cubicBezTo>
                      <a:pt x="18" y="12"/>
                      <a:pt x="22" y="11"/>
                      <a:pt x="27" y="10"/>
                    </a:cubicBezTo>
                    <a:cubicBezTo>
                      <a:pt x="34" y="10"/>
                      <a:pt x="40" y="14"/>
                      <a:pt x="40" y="18"/>
                    </a:cubicBezTo>
                    <a:cubicBezTo>
                      <a:pt x="40" y="19"/>
                      <a:pt x="40" y="19"/>
                      <a:pt x="38" y="20"/>
                    </a:cubicBezTo>
                    <a:close/>
                  </a:path>
                </a:pathLst>
              </a:cu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214" name="î$ḷíḓê">
                <a:extLst>
                  <a:ext uri="{FF2B5EF4-FFF2-40B4-BE49-F238E27FC236}">
                    <a16:creationId xmlns:a16="http://schemas.microsoft.com/office/drawing/2014/main" id="{514A581B-CBA2-4A2B-BE5D-90504BA456F8}"/>
                  </a:ext>
                </a:extLst>
              </p:cNvPr>
              <p:cNvSpPr/>
              <p:nvPr/>
            </p:nvSpPr>
            <p:spPr bwMode="auto">
              <a:xfrm>
                <a:off x="4742690" y="4248832"/>
                <a:ext cx="405113" cy="214251"/>
              </a:xfrm>
              <a:custGeom>
                <a:avLst/>
                <a:gdLst>
                  <a:gd name="T0" fmla="*/ 53 w 53"/>
                  <a:gd name="T1" fmla="*/ 15 h 28"/>
                  <a:gd name="T2" fmla="*/ 49 w 53"/>
                  <a:gd name="T3" fmla="*/ 16 h 28"/>
                  <a:gd name="T4" fmla="*/ 50 w 53"/>
                  <a:gd name="T5" fmla="*/ 19 h 28"/>
                  <a:gd name="T6" fmla="*/ 49 w 53"/>
                  <a:gd name="T7" fmla="*/ 22 h 28"/>
                  <a:gd name="T8" fmla="*/ 45 w 53"/>
                  <a:gd name="T9" fmla="*/ 22 h 28"/>
                  <a:gd name="T10" fmla="*/ 43 w 53"/>
                  <a:gd name="T11" fmla="*/ 24 h 28"/>
                  <a:gd name="T12" fmla="*/ 39 w 53"/>
                  <a:gd name="T13" fmla="*/ 27 h 28"/>
                  <a:gd name="T14" fmla="*/ 35 w 53"/>
                  <a:gd name="T15" fmla="*/ 25 h 28"/>
                  <a:gd name="T16" fmla="*/ 31 w 53"/>
                  <a:gd name="T17" fmla="*/ 27 h 28"/>
                  <a:gd name="T18" fmla="*/ 24 w 53"/>
                  <a:gd name="T19" fmla="*/ 28 h 28"/>
                  <a:gd name="T20" fmla="*/ 23 w 53"/>
                  <a:gd name="T21" fmla="*/ 26 h 28"/>
                  <a:gd name="T22" fmla="*/ 17 w 53"/>
                  <a:gd name="T23" fmla="*/ 26 h 28"/>
                  <a:gd name="T24" fmla="*/ 11 w 53"/>
                  <a:gd name="T25" fmla="*/ 26 h 28"/>
                  <a:gd name="T26" fmla="*/ 11 w 53"/>
                  <a:gd name="T27" fmla="*/ 23 h 28"/>
                  <a:gd name="T28" fmla="*/ 6 w 53"/>
                  <a:gd name="T29" fmla="*/ 22 h 28"/>
                  <a:gd name="T30" fmla="*/ 2 w 53"/>
                  <a:gd name="T31" fmla="*/ 20 h 28"/>
                  <a:gd name="T32" fmla="*/ 5 w 53"/>
                  <a:gd name="T33" fmla="*/ 18 h 28"/>
                  <a:gd name="T34" fmla="*/ 2 w 53"/>
                  <a:gd name="T35" fmla="*/ 16 h 28"/>
                  <a:gd name="T36" fmla="*/ 1 w 53"/>
                  <a:gd name="T37" fmla="*/ 13 h 28"/>
                  <a:gd name="T38" fmla="*/ 5 w 53"/>
                  <a:gd name="T39" fmla="*/ 12 h 28"/>
                  <a:gd name="T40" fmla="*/ 5 w 53"/>
                  <a:gd name="T41" fmla="*/ 10 h 28"/>
                  <a:gd name="T42" fmla="*/ 7 w 53"/>
                  <a:gd name="T43" fmla="*/ 6 h 28"/>
                  <a:gd name="T44" fmla="*/ 11 w 53"/>
                  <a:gd name="T45" fmla="*/ 7 h 28"/>
                  <a:gd name="T46" fmla="*/ 12 w 53"/>
                  <a:gd name="T47" fmla="*/ 4 h 28"/>
                  <a:gd name="T48" fmla="*/ 17 w 53"/>
                  <a:gd name="T49" fmla="*/ 2 h 28"/>
                  <a:gd name="T50" fmla="*/ 20 w 53"/>
                  <a:gd name="T51" fmla="*/ 3 h 28"/>
                  <a:gd name="T52" fmla="*/ 23 w 53"/>
                  <a:gd name="T53" fmla="*/ 1 h 28"/>
                  <a:gd name="T54" fmla="*/ 29 w 53"/>
                  <a:gd name="T55" fmla="*/ 0 h 28"/>
                  <a:gd name="T56" fmla="*/ 30 w 53"/>
                  <a:gd name="T57" fmla="*/ 2 h 28"/>
                  <a:gd name="T58" fmla="*/ 35 w 53"/>
                  <a:gd name="T59" fmla="*/ 2 h 28"/>
                  <a:gd name="T60" fmla="*/ 41 w 53"/>
                  <a:gd name="T61" fmla="*/ 3 h 28"/>
                  <a:gd name="T62" fmla="*/ 40 w 53"/>
                  <a:gd name="T63" fmla="*/ 5 h 28"/>
                  <a:gd name="T64" fmla="*/ 45 w 53"/>
                  <a:gd name="T65" fmla="*/ 6 h 28"/>
                  <a:gd name="T66" fmla="*/ 49 w 53"/>
                  <a:gd name="T67" fmla="*/ 8 h 28"/>
                  <a:gd name="T68" fmla="*/ 47 w 53"/>
                  <a:gd name="T69" fmla="*/ 10 h 28"/>
                  <a:gd name="T70" fmla="*/ 51 w 53"/>
                  <a:gd name="T71" fmla="*/ 12 h 28"/>
                  <a:gd name="T72" fmla="*/ 38 w 53"/>
                  <a:gd name="T73" fmla="*/ 18 h 28"/>
                  <a:gd name="T74" fmla="*/ 27 w 53"/>
                  <a:gd name="T75" fmla="*/ 7 h 28"/>
                  <a:gd name="T76" fmla="*/ 13 w 53"/>
                  <a:gd name="T77" fmla="*/ 14 h 28"/>
                  <a:gd name="T78" fmla="*/ 38 w 53"/>
                  <a:gd name="T79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3" h="28">
                    <a:moveTo>
                      <a:pt x="53" y="13"/>
                    </a:moveTo>
                    <a:cubicBezTo>
                      <a:pt x="53" y="15"/>
                      <a:pt x="53" y="15"/>
                      <a:pt x="53" y="15"/>
                    </a:cubicBezTo>
                    <a:cubicBezTo>
                      <a:pt x="53" y="16"/>
                      <a:pt x="52" y="16"/>
                      <a:pt x="51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17"/>
                      <a:pt x="49" y="17"/>
                      <a:pt x="48" y="18"/>
                    </a:cubicBezTo>
                    <a:cubicBezTo>
                      <a:pt x="50" y="19"/>
                      <a:pt x="50" y="19"/>
                      <a:pt x="50" y="19"/>
                    </a:cubicBezTo>
                    <a:cubicBezTo>
                      <a:pt x="51" y="19"/>
                      <a:pt x="52" y="20"/>
                      <a:pt x="51" y="20"/>
                    </a:cubicBezTo>
                    <a:cubicBezTo>
                      <a:pt x="49" y="22"/>
                      <a:pt x="49" y="22"/>
                      <a:pt x="49" y="22"/>
                    </a:cubicBezTo>
                    <a:cubicBezTo>
                      <a:pt x="49" y="22"/>
                      <a:pt x="48" y="23"/>
                      <a:pt x="47" y="22"/>
                    </a:cubicBezTo>
                    <a:cubicBezTo>
                      <a:pt x="45" y="22"/>
                      <a:pt x="45" y="22"/>
                      <a:pt x="45" y="22"/>
                    </a:cubicBezTo>
                    <a:cubicBezTo>
                      <a:pt x="44" y="22"/>
                      <a:pt x="43" y="23"/>
                      <a:pt x="42" y="23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5"/>
                      <a:pt x="43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38" y="27"/>
                      <a:pt x="37" y="27"/>
                      <a:pt x="36" y="26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3" y="25"/>
                      <a:pt x="32" y="26"/>
                      <a:pt x="31" y="26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31" y="28"/>
                      <a:pt x="30" y="28"/>
                      <a:pt x="29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3" y="28"/>
                      <a:pt x="22" y="28"/>
                      <a:pt x="22" y="27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1" y="26"/>
                      <a:pt x="20" y="25"/>
                      <a:pt x="18" y="25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6" y="27"/>
                      <a:pt x="15" y="27"/>
                      <a:pt x="14" y="27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0" y="25"/>
                      <a:pt x="10" y="25"/>
                      <a:pt x="10" y="24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0" y="23"/>
                      <a:pt x="9" y="22"/>
                      <a:pt x="9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5" y="23"/>
                      <a:pt x="4" y="22"/>
                      <a:pt x="4" y="22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0"/>
                      <a:pt x="2" y="19"/>
                      <a:pt x="3" y="19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8"/>
                      <a:pt x="5" y="17"/>
                      <a:pt x="4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" y="16"/>
                      <a:pt x="0" y="16"/>
                      <a:pt x="0" y="15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2" y="12"/>
                      <a:pt x="3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6" y="11"/>
                      <a:pt x="6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4" y="9"/>
                      <a:pt x="4" y="9"/>
                      <a:pt x="4" y="8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8" y="6"/>
                      <a:pt x="9" y="6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6"/>
                      <a:pt x="12" y="6"/>
                      <a:pt x="14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3"/>
                      <a:pt x="13" y="3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8" y="2"/>
                      <a:pt x="19" y="2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1" y="3"/>
                      <a:pt x="22" y="3"/>
                      <a:pt x="23" y="3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1"/>
                      <a:pt x="24" y="0"/>
                      <a:pt x="25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0" y="0"/>
                      <a:pt x="30" y="1"/>
                      <a:pt x="30" y="1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2" y="3"/>
                      <a:pt x="33" y="3"/>
                      <a:pt x="34" y="3"/>
                    </a:cubicBezTo>
                    <a:cubicBezTo>
                      <a:pt x="35" y="2"/>
                      <a:pt x="35" y="2"/>
                      <a:pt x="35" y="2"/>
                    </a:cubicBezTo>
                    <a:cubicBezTo>
                      <a:pt x="36" y="1"/>
                      <a:pt x="36" y="1"/>
                      <a:pt x="37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1" y="3"/>
                      <a:pt x="42" y="3"/>
                      <a:pt x="41" y="4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41" y="5"/>
                      <a:pt x="42" y="6"/>
                      <a:pt x="43" y="6"/>
                    </a:cubicBezTo>
                    <a:cubicBezTo>
                      <a:pt x="45" y="6"/>
                      <a:pt x="45" y="6"/>
                      <a:pt x="45" y="6"/>
                    </a:cubicBezTo>
                    <a:cubicBezTo>
                      <a:pt x="46" y="5"/>
                      <a:pt x="47" y="6"/>
                      <a:pt x="47" y="6"/>
                    </a:cubicBezTo>
                    <a:cubicBezTo>
                      <a:pt x="49" y="8"/>
                      <a:pt x="49" y="8"/>
                      <a:pt x="49" y="8"/>
                    </a:cubicBezTo>
                    <a:cubicBezTo>
                      <a:pt x="50" y="8"/>
                      <a:pt x="50" y="9"/>
                      <a:pt x="49" y="9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8" y="10"/>
                      <a:pt x="48" y="11"/>
                      <a:pt x="48" y="12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52" y="12"/>
                      <a:pt x="52" y="12"/>
                      <a:pt x="53" y="13"/>
                    </a:cubicBezTo>
                    <a:close/>
                    <a:moveTo>
                      <a:pt x="38" y="18"/>
                    </a:moveTo>
                    <a:cubicBezTo>
                      <a:pt x="40" y="17"/>
                      <a:pt x="40" y="16"/>
                      <a:pt x="40" y="14"/>
                    </a:cubicBezTo>
                    <a:cubicBezTo>
                      <a:pt x="40" y="10"/>
                      <a:pt x="34" y="7"/>
                      <a:pt x="27" y="7"/>
                    </a:cubicBezTo>
                    <a:cubicBezTo>
                      <a:pt x="22" y="7"/>
                      <a:pt x="18" y="8"/>
                      <a:pt x="16" y="10"/>
                    </a:cubicBezTo>
                    <a:cubicBezTo>
                      <a:pt x="14" y="11"/>
                      <a:pt x="13" y="13"/>
                      <a:pt x="13" y="14"/>
                    </a:cubicBezTo>
                    <a:cubicBezTo>
                      <a:pt x="13" y="18"/>
                      <a:pt x="19" y="21"/>
                      <a:pt x="27" y="21"/>
                    </a:cubicBezTo>
                    <a:cubicBezTo>
                      <a:pt x="32" y="21"/>
                      <a:pt x="36" y="20"/>
                      <a:pt x="38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  <p:grpSp>
          <p:nvGrpSpPr>
            <p:cNvPr id="174" name="组合 173">
              <a:extLst>
                <a:ext uri="{FF2B5EF4-FFF2-40B4-BE49-F238E27FC236}">
                  <a16:creationId xmlns:a16="http://schemas.microsoft.com/office/drawing/2014/main" id="{703B0111-42F5-4EB9-AF70-AEBDA8211872}"/>
                </a:ext>
              </a:extLst>
            </p:cNvPr>
            <p:cNvGrpSpPr/>
            <p:nvPr/>
          </p:nvGrpSpPr>
          <p:grpSpPr>
            <a:xfrm>
              <a:off x="1750140" y="4894285"/>
              <a:ext cx="397629" cy="260096"/>
              <a:chOff x="6293907" y="4248832"/>
              <a:chExt cx="397629" cy="260096"/>
            </a:xfrm>
          </p:grpSpPr>
          <p:sp>
            <p:nvSpPr>
              <p:cNvPr id="209" name="iṣḻîďe">
                <a:extLst>
                  <a:ext uri="{FF2B5EF4-FFF2-40B4-BE49-F238E27FC236}">
                    <a16:creationId xmlns:a16="http://schemas.microsoft.com/office/drawing/2014/main" id="{B993C6D4-C288-4C23-9A3D-563EB7A66827}"/>
                  </a:ext>
                </a:extLst>
              </p:cNvPr>
              <p:cNvSpPr/>
              <p:nvPr/>
            </p:nvSpPr>
            <p:spPr bwMode="auto">
              <a:xfrm>
                <a:off x="6423954" y="4355490"/>
                <a:ext cx="137533" cy="61749"/>
              </a:xfrm>
              <a:prstGeom prst="rect">
                <a:avLst/>
              </a:pr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210" name="iś1îďè">
                <a:extLst>
                  <a:ext uri="{FF2B5EF4-FFF2-40B4-BE49-F238E27FC236}">
                    <a16:creationId xmlns:a16="http://schemas.microsoft.com/office/drawing/2014/main" id="{8B91314C-2695-4E55-80B9-D2F478C71517}"/>
                  </a:ext>
                </a:extLst>
              </p:cNvPr>
              <p:cNvSpPr/>
              <p:nvPr/>
            </p:nvSpPr>
            <p:spPr bwMode="auto">
              <a:xfrm>
                <a:off x="6293907" y="4272222"/>
                <a:ext cx="397628" cy="236706"/>
              </a:xfrm>
              <a:custGeom>
                <a:avLst/>
                <a:gdLst>
                  <a:gd name="T0" fmla="*/ 52 w 52"/>
                  <a:gd name="T1" fmla="*/ 18 h 31"/>
                  <a:gd name="T2" fmla="*/ 52 w 52"/>
                  <a:gd name="T3" fmla="*/ 12 h 31"/>
                  <a:gd name="T4" fmla="*/ 49 w 52"/>
                  <a:gd name="T5" fmla="*/ 11 h 31"/>
                  <a:gd name="T6" fmla="*/ 49 w 52"/>
                  <a:gd name="T7" fmla="*/ 9 h 31"/>
                  <a:gd name="T8" fmla="*/ 43 w 52"/>
                  <a:gd name="T9" fmla="*/ 5 h 31"/>
                  <a:gd name="T10" fmla="*/ 41 w 52"/>
                  <a:gd name="T11" fmla="*/ 0 h 31"/>
                  <a:gd name="T12" fmla="*/ 19 w 52"/>
                  <a:gd name="T13" fmla="*/ 2 h 31"/>
                  <a:gd name="T14" fmla="*/ 12 w 52"/>
                  <a:gd name="T15" fmla="*/ 4 h 31"/>
                  <a:gd name="T16" fmla="*/ 3 w 52"/>
                  <a:gd name="T17" fmla="*/ 6 h 31"/>
                  <a:gd name="T18" fmla="*/ 0 w 52"/>
                  <a:gd name="T19" fmla="*/ 13 h 31"/>
                  <a:gd name="T20" fmla="*/ 0 w 52"/>
                  <a:gd name="T21" fmla="*/ 19 h 31"/>
                  <a:gd name="T22" fmla="*/ 1 w 52"/>
                  <a:gd name="T23" fmla="*/ 20 h 31"/>
                  <a:gd name="T24" fmla="*/ 1 w 52"/>
                  <a:gd name="T25" fmla="*/ 23 h 31"/>
                  <a:gd name="T26" fmla="*/ 3 w 52"/>
                  <a:gd name="T27" fmla="*/ 25 h 31"/>
                  <a:gd name="T28" fmla="*/ 8 w 52"/>
                  <a:gd name="T29" fmla="*/ 25 h 31"/>
                  <a:gd name="T30" fmla="*/ 9 w 52"/>
                  <a:gd name="T31" fmla="*/ 28 h 31"/>
                  <a:gd name="T32" fmla="*/ 14 w 52"/>
                  <a:gd name="T33" fmla="*/ 30 h 31"/>
                  <a:gd name="T34" fmla="*/ 18 w 52"/>
                  <a:gd name="T35" fmla="*/ 29 h 31"/>
                  <a:gd name="T36" fmla="*/ 22 w 52"/>
                  <a:gd name="T37" fmla="*/ 30 h 31"/>
                  <a:gd name="T38" fmla="*/ 28 w 52"/>
                  <a:gd name="T39" fmla="*/ 31 h 31"/>
                  <a:gd name="T40" fmla="*/ 30 w 52"/>
                  <a:gd name="T41" fmla="*/ 29 h 31"/>
                  <a:gd name="T42" fmla="*/ 36 w 52"/>
                  <a:gd name="T43" fmla="*/ 30 h 31"/>
                  <a:gd name="T44" fmla="*/ 42 w 52"/>
                  <a:gd name="T45" fmla="*/ 29 h 31"/>
                  <a:gd name="T46" fmla="*/ 43 w 52"/>
                  <a:gd name="T47" fmla="*/ 28 h 31"/>
                  <a:gd name="T48" fmla="*/ 43 w 52"/>
                  <a:gd name="T49" fmla="*/ 28 h 31"/>
                  <a:gd name="T50" fmla="*/ 44 w 52"/>
                  <a:gd name="T51" fmla="*/ 25 h 31"/>
                  <a:gd name="T52" fmla="*/ 49 w 52"/>
                  <a:gd name="T53" fmla="*/ 25 h 31"/>
                  <a:gd name="T54" fmla="*/ 51 w 52"/>
                  <a:gd name="T55" fmla="*/ 23 h 31"/>
                  <a:gd name="T56" fmla="*/ 51 w 52"/>
                  <a:gd name="T57" fmla="*/ 19 h 31"/>
                  <a:gd name="T58" fmla="*/ 52 w 52"/>
                  <a:gd name="T59" fmla="*/ 19 h 31"/>
                  <a:gd name="T60" fmla="*/ 38 w 52"/>
                  <a:gd name="T61" fmla="*/ 20 h 31"/>
                  <a:gd name="T62" fmla="*/ 12 w 52"/>
                  <a:gd name="T63" fmla="*/ 18 h 31"/>
                  <a:gd name="T64" fmla="*/ 26 w 52"/>
                  <a:gd name="T65" fmla="*/ 10 h 31"/>
                  <a:gd name="T66" fmla="*/ 38 w 52"/>
                  <a:gd name="T67" fmla="*/ 2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2" h="31">
                    <a:moveTo>
                      <a:pt x="52" y="19"/>
                    </a:moveTo>
                    <a:cubicBezTo>
                      <a:pt x="52" y="18"/>
                      <a:pt x="52" y="18"/>
                      <a:pt x="52" y="18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52" y="12"/>
                      <a:pt x="52" y="12"/>
                      <a:pt x="52" y="12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49" y="11"/>
                      <a:pt x="49" y="11"/>
                      <a:pt x="49" y="11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20"/>
                      <a:pt x="1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4" y="26"/>
                      <a:pt x="5" y="26"/>
                      <a:pt x="6" y="26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8" y="25"/>
                      <a:pt x="9" y="26"/>
                      <a:pt x="9" y="26"/>
                    </a:cubicBezTo>
                    <a:cubicBezTo>
                      <a:pt x="9" y="28"/>
                      <a:pt x="9" y="28"/>
                      <a:pt x="9" y="28"/>
                    </a:cubicBezTo>
                    <a:cubicBezTo>
                      <a:pt x="9" y="28"/>
                      <a:pt x="9" y="29"/>
                      <a:pt x="10" y="29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5" y="30"/>
                      <a:pt x="16" y="30"/>
                      <a:pt x="16" y="30"/>
                    </a:cubicBezTo>
                    <a:cubicBezTo>
                      <a:pt x="18" y="29"/>
                      <a:pt x="18" y="29"/>
                      <a:pt x="18" y="29"/>
                    </a:cubicBezTo>
                    <a:cubicBezTo>
                      <a:pt x="19" y="29"/>
                      <a:pt x="20" y="29"/>
                      <a:pt x="22" y="29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22" y="31"/>
                      <a:pt x="23" y="31"/>
                      <a:pt x="24" y="31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9" y="31"/>
                      <a:pt x="30" y="31"/>
                      <a:pt x="30" y="30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1" y="29"/>
                      <a:pt x="33" y="29"/>
                      <a:pt x="34" y="29"/>
                    </a:cubicBezTo>
                    <a:cubicBezTo>
                      <a:pt x="36" y="30"/>
                      <a:pt x="36" y="30"/>
                      <a:pt x="36" y="30"/>
                    </a:cubicBezTo>
                    <a:cubicBezTo>
                      <a:pt x="36" y="30"/>
                      <a:pt x="37" y="30"/>
                      <a:pt x="38" y="30"/>
                    </a:cubicBezTo>
                    <a:cubicBezTo>
                      <a:pt x="42" y="29"/>
                      <a:pt x="42" y="29"/>
                      <a:pt x="42" y="29"/>
                    </a:cubicBezTo>
                    <a:cubicBezTo>
                      <a:pt x="42" y="29"/>
                      <a:pt x="43" y="29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5"/>
                      <a:pt x="44" y="25"/>
                      <a:pt x="44" y="25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7" y="26"/>
                      <a:pt x="48" y="26"/>
                      <a:pt x="49" y="25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1"/>
                      <a:pt x="51" y="19"/>
                    </a:cubicBezTo>
                    <a:cubicBezTo>
                      <a:pt x="51" y="19"/>
                      <a:pt x="51" y="19"/>
                      <a:pt x="51" y="19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2" y="19"/>
                      <a:pt x="52" y="19"/>
                      <a:pt x="52" y="19"/>
                    </a:cubicBezTo>
                    <a:close/>
                    <a:moveTo>
                      <a:pt x="38" y="20"/>
                    </a:moveTo>
                    <a:cubicBezTo>
                      <a:pt x="35" y="22"/>
                      <a:pt x="31" y="21"/>
                      <a:pt x="27" y="21"/>
                    </a:cubicBezTo>
                    <a:cubicBezTo>
                      <a:pt x="19" y="21"/>
                      <a:pt x="12" y="22"/>
                      <a:pt x="12" y="18"/>
                    </a:cubicBezTo>
                    <a:cubicBezTo>
                      <a:pt x="13" y="16"/>
                      <a:pt x="14" y="15"/>
                      <a:pt x="15" y="14"/>
                    </a:cubicBezTo>
                    <a:cubicBezTo>
                      <a:pt x="18" y="12"/>
                      <a:pt x="22" y="10"/>
                      <a:pt x="26" y="10"/>
                    </a:cubicBezTo>
                    <a:cubicBezTo>
                      <a:pt x="33" y="10"/>
                      <a:pt x="39" y="13"/>
                      <a:pt x="40" y="18"/>
                    </a:cubicBezTo>
                    <a:cubicBezTo>
                      <a:pt x="40" y="19"/>
                      <a:pt x="39" y="19"/>
                      <a:pt x="38" y="20"/>
                    </a:cubicBezTo>
                    <a:close/>
                  </a:path>
                </a:pathLst>
              </a:cu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211" name="îṣ1ide">
                <a:extLst>
                  <a:ext uri="{FF2B5EF4-FFF2-40B4-BE49-F238E27FC236}">
                    <a16:creationId xmlns:a16="http://schemas.microsoft.com/office/drawing/2014/main" id="{64D2CF91-C320-4981-9B27-30849FB2809A}"/>
                  </a:ext>
                </a:extLst>
              </p:cNvPr>
              <p:cNvSpPr/>
              <p:nvPr/>
            </p:nvSpPr>
            <p:spPr bwMode="auto">
              <a:xfrm>
                <a:off x="6293908" y="4248832"/>
                <a:ext cx="397628" cy="214251"/>
              </a:xfrm>
              <a:custGeom>
                <a:avLst/>
                <a:gdLst>
                  <a:gd name="T0" fmla="*/ 52 w 52"/>
                  <a:gd name="T1" fmla="*/ 15 h 28"/>
                  <a:gd name="T2" fmla="*/ 48 w 52"/>
                  <a:gd name="T3" fmla="*/ 16 h 28"/>
                  <a:gd name="T4" fmla="*/ 50 w 52"/>
                  <a:gd name="T5" fmla="*/ 19 h 28"/>
                  <a:gd name="T6" fmla="*/ 49 w 52"/>
                  <a:gd name="T7" fmla="*/ 22 h 28"/>
                  <a:gd name="T8" fmla="*/ 44 w 52"/>
                  <a:gd name="T9" fmla="*/ 22 h 28"/>
                  <a:gd name="T10" fmla="*/ 42 w 52"/>
                  <a:gd name="T11" fmla="*/ 24 h 28"/>
                  <a:gd name="T12" fmla="*/ 38 w 52"/>
                  <a:gd name="T13" fmla="*/ 27 h 28"/>
                  <a:gd name="T14" fmla="*/ 34 w 52"/>
                  <a:gd name="T15" fmla="*/ 25 h 28"/>
                  <a:gd name="T16" fmla="*/ 30 w 52"/>
                  <a:gd name="T17" fmla="*/ 27 h 28"/>
                  <a:gd name="T18" fmla="*/ 24 w 52"/>
                  <a:gd name="T19" fmla="*/ 28 h 28"/>
                  <a:gd name="T20" fmla="*/ 22 w 52"/>
                  <a:gd name="T21" fmla="*/ 26 h 28"/>
                  <a:gd name="T22" fmla="*/ 16 w 52"/>
                  <a:gd name="T23" fmla="*/ 26 h 28"/>
                  <a:gd name="T24" fmla="*/ 10 w 52"/>
                  <a:gd name="T25" fmla="*/ 25 h 28"/>
                  <a:gd name="T26" fmla="*/ 11 w 52"/>
                  <a:gd name="T27" fmla="*/ 23 h 28"/>
                  <a:gd name="T28" fmla="*/ 6 w 52"/>
                  <a:gd name="T29" fmla="*/ 22 h 28"/>
                  <a:gd name="T30" fmla="*/ 1 w 52"/>
                  <a:gd name="T31" fmla="*/ 20 h 28"/>
                  <a:gd name="T32" fmla="*/ 5 w 52"/>
                  <a:gd name="T33" fmla="*/ 18 h 28"/>
                  <a:gd name="T34" fmla="*/ 1 w 52"/>
                  <a:gd name="T35" fmla="*/ 16 h 28"/>
                  <a:gd name="T36" fmla="*/ 0 w 52"/>
                  <a:gd name="T37" fmla="*/ 13 h 28"/>
                  <a:gd name="T38" fmla="*/ 4 w 52"/>
                  <a:gd name="T39" fmla="*/ 12 h 28"/>
                  <a:gd name="T40" fmla="*/ 4 w 52"/>
                  <a:gd name="T41" fmla="*/ 10 h 28"/>
                  <a:gd name="T42" fmla="*/ 6 w 52"/>
                  <a:gd name="T43" fmla="*/ 6 h 28"/>
                  <a:gd name="T44" fmla="*/ 10 w 52"/>
                  <a:gd name="T45" fmla="*/ 7 h 28"/>
                  <a:gd name="T46" fmla="*/ 12 w 52"/>
                  <a:gd name="T47" fmla="*/ 4 h 28"/>
                  <a:gd name="T48" fmla="*/ 16 w 52"/>
                  <a:gd name="T49" fmla="*/ 2 h 28"/>
                  <a:gd name="T50" fmla="*/ 19 w 52"/>
                  <a:gd name="T51" fmla="*/ 3 h 28"/>
                  <a:gd name="T52" fmla="*/ 23 w 52"/>
                  <a:gd name="T53" fmla="*/ 1 h 28"/>
                  <a:gd name="T54" fmla="*/ 28 w 52"/>
                  <a:gd name="T55" fmla="*/ 0 h 28"/>
                  <a:gd name="T56" fmla="*/ 30 w 52"/>
                  <a:gd name="T57" fmla="*/ 2 h 28"/>
                  <a:gd name="T58" fmla="*/ 34 w 52"/>
                  <a:gd name="T59" fmla="*/ 2 h 28"/>
                  <a:gd name="T60" fmla="*/ 40 w 52"/>
                  <a:gd name="T61" fmla="*/ 2 h 28"/>
                  <a:gd name="T62" fmla="*/ 40 w 52"/>
                  <a:gd name="T63" fmla="*/ 5 h 28"/>
                  <a:gd name="T64" fmla="*/ 44 w 52"/>
                  <a:gd name="T65" fmla="*/ 6 h 28"/>
                  <a:gd name="T66" fmla="*/ 49 w 52"/>
                  <a:gd name="T67" fmla="*/ 8 h 28"/>
                  <a:gd name="T68" fmla="*/ 46 w 52"/>
                  <a:gd name="T69" fmla="*/ 10 h 28"/>
                  <a:gd name="T70" fmla="*/ 50 w 52"/>
                  <a:gd name="T71" fmla="*/ 12 h 28"/>
                  <a:gd name="T72" fmla="*/ 38 w 52"/>
                  <a:gd name="T73" fmla="*/ 18 h 28"/>
                  <a:gd name="T74" fmla="*/ 26 w 52"/>
                  <a:gd name="T75" fmla="*/ 7 h 28"/>
                  <a:gd name="T76" fmla="*/ 12 w 52"/>
                  <a:gd name="T77" fmla="*/ 14 h 28"/>
                  <a:gd name="T78" fmla="*/ 38 w 52"/>
                  <a:gd name="T79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2" h="28">
                    <a:moveTo>
                      <a:pt x="52" y="13"/>
                    </a:moveTo>
                    <a:cubicBezTo>
                      <a:pt x="52" y="15"/>
                      <a:pt x="52" y="15"/>
                      <a:pt x="52" y="15"/>
                    </a:cubicBezTo>
                    <a:cubicBezTo>
                      <a:pt x="52" y="15"/>
                      <a:pt x="52" y="16"/>
                      <a:pt x="51" y="16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8" y="17"/>
                      <a:pt x="48" y="17"/>
                      <a:pt x="47" y="18"/>
                    </a:cubicBezTo>
                    <a:cubicBezTo>
                      <a:pt x="50" y="19"/>
                      <a:pt x="50" y="19"/>
                      <a:pt x="50" y="19"/>
                    </a:cubicBezTo>
                    <a:cubicBezTo>
                      <a:pt x="51" y="19"/>
                      <a:pt x="51" y="19"/>
                      <a:pt x="51" y="20"/>
                    </a:cubicBezTo>
                    <a:cubicBezTo>
                      <a:pt x="49" y="22"/>
                      <a:pt x="49" y="22"/>
                      <a:pt x="49" y="22"/>
                    </a:cubicBezTo>
                    <a:cubicBezTo>
                      <a:pt x="48" y="22"/>
                      <a:pt x="47" y="22"/>
                      <a:pt x="46" y="22"/>
                    </a:cubicBezTo>
                    <a:cubicBezTo>
                      <a:pt x="44" y="22"/>
                      <a:pt x="44" y="22"/>
                      <a:pt x="44" y="22"/>
                    </a:cubicBezTo>
                    <a:cubicBezTo>
                      <a:pt x="43" y="22"/>
                      <a:pt x="42" y="23"/>
                      <a:pt x="41" y="23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3" y="25"/>
                      <a:pt x="43" y="25"/>
                      <a:pt x="42" y="25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7" y="27"/>
                      <a:pt x="36" y="27"/>
                      <a:pt x="36" y="26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3" y="25"/>
                      <a:pt x="31" y="26"/>
                      <a:pt x="30" y="26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30" y="27"/>
                      <a:pt x="29" y="28"/>
                      <a:pt x="28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3" y="28"/>
                      <a:pt x="22" y="27"/>
                      <a:pt x="22" y="27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6"/>
                      <a:pt x="19" y="25"/>
                      <a:pt x="18" y="25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16" y="27"/>
                      <a:pt x="15" y="27"/>
                      <a:pt x="14" y="27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9" y="25"/>
                      <a:pt x="9" y="25"/>
                      <a:pt x="9" y="24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0" y="23"/>
                      <a:pt x="9" y="22"/>
                      <a:pt x="8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5" y="23"/>
                      <a:pt x="4" y="22"/>
                      <a:pt x="3" y="22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1" y="19"/>
                      <a:pt x="2" y="19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4" y="18"/>
                      <a:pt x="4" y="17"/>
                      <a:pt x="4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6"/>
                      <a:pt x="0" y="1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1" y="12"/>
                      <a:pt x="2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5" y="12"/>
                      <a:pt x="5" y="11"/>
                      <a:pt x="6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9"/>
                      <a:pt x="3" y="9"/>
                      <a:pt x="4" y="8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7" y="6"/>
                      <a:pt x="8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6"/>
                      <a:pt x="12" y="6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1" y="4"/>
                      <a:pt x="12" y="3"/>
                      <a:pt x="13" y="3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1"/>
                      <a:pt x="18" y="2"/>
                      <a:pt x="18" y="2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20" y="3"/>
                      <a:pt x="22" y="3"/>
                      <a:pt x="23" y="2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1"/>
                      <a:pt x="24" y="0"/>
                      <a:pt x="2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9" y="0"/>
                      <a:pt x="30" y="1"/>
                      <a:pt x="30" y="1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1" y="2"/>
                      <a:pt x="32" y="3"/>
                      <a:pt x="33" y="3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5" y="1"/>
                      <a:pt x="36" y="1"/>
                      <a:pt x="36" y="1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1" y="3"/>
                      <a:pt x="41" y="3"/>
                      <a:pt x="41" y="4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41" y="5"/>
                      <a:pt x="42" y="6"/>
                      <a:pt x="42" y="6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45" y="5"/>
                      <a:pt x="46" y="5"/>
                      <a:pt x="46" y="6"/>
                    </a:cubicBezTo>
                    <a:cubicBezTo>
                      <a:pt x="49" y="8"/>
                      <a:pt x="49" y="8"/>
                      <a:pt x="49" y="8"/>
                    </a:cubicBezTo>
                    <a:cubicBezTo>
                      <a:pt x="49" y="8"/>
                      <a:pt x="49" y="9"/>
                      <a:pt x="48" y="9"/>
                    </a:cubicBezTo>
                    <a:cubicBezTo>
                      <a:pt x="46" y="10"/>
                      <a:pt x="46" y="10"/>
                      <a:pt x="46" y="10"/>
                    </a:cubicBezTo>
                    <a:cubicBezTo>
                      <a:pt x="47" y="10"/>
                      <a:pt x="47" y="11"/>
                      <a:pt x="48" y="12"/>
                    </a:cubicBezTo>
                    <a:cubicBezTo>
                      <a:pt x="50" y="12"/>
                      <a:pt x="50" y="12"/>
                      <a:pt x="50" y="12"/>
                    </a:cubicBezTo>
                    <a:cubicBezTo>
                      <a:pt x="51" y="12"/>
                      <a:pt x="52" y="12"/>
                      <a:pt x="52" y="13"/>
                    </a:cubicBezTo>
                    <a:close/>
                    <a:moveTo>
                      <a:pt x="38" y="18"/>
                    </a:moveTo>
                    <a:cubicBezTo>
                      <a:pt x="39" y="17"/>
                      <a:pt x="40" y="16"/>
                      <a:pt x="40" y="14"/>
                    </a:cubicBezTo>
                    <a:cubicBezTo>
                      <a:pt x="39" y="10"/>
                      <a:pt x="33" y="7"/>
                      <a:pt x="26" y="7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4" y="11"/>
                      <a:pt x="13" y="13"/>
                      <a:pt x="12" y="14"/>
                    </a:cubicBezTo>
                    <a:cubicBezTo>
                      <a:pt x="12" y="18"/>
                      <a:pt x="18" y="21"/>
                      <a:pt x="26" y="21"/>
                    </a:cubicBezTo>
                    <a:cubicBezTo>
                      <a:pt x="31" y="21"/>
                      <a:pt x="35" y="20"/>
                      <a:pt x="38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212" name="iSḻîdé">
                <a:extLst>
                  <a:ext uri="{FF2B5EF4-FFF2-40B4-BE49-F238E27FC236}">
                    <a16:creationId xmlns:a16="http://schemas.microsoft.com/office/drawing/2014/main" id="{9429E0BA-FBC1-4557-9DEA-F9ABFC0297CB}"/>
                  </a:ext>
                </a:extLst>
              </p:cNvPr>
              <p:cNvSpPr/>
              <p:nvPr/>
            </p:nvSpPr>
            <p:spPr bwMode="auto">
              <a:xfrm>
                <a:off x="6416469" y="4318066"/>
                <a:ext cx="145018" cy="75783"/>
              </a:xfrm>
              <a:custGeom>
                <a:avLst/>
                <a:gdLst>
                  <a:gd name="T0" fmla="*/ 18 w 19"/>
                  <a:gd name="T1" fmla="*/ 8 h 10"/>
                  <a:gd name="T2" fmla="*/ 19 w 19"/>
                  <a:gd name="T3" fmla="*/ 5 h 10"/>
                  <a:gd name="T4" fmla="*/ 10 w 19"/>
                  <a:gd name="T5" fmla="*/ 0 h 10"/>
                  <a:gd name="T6" fmla="*/ 2 w 19"/>
                  <a:gd name="T7" fmla="*/ 2 h 10"/>
                  <a:gd name="T8" fmla="*/ 1 w 19"/>
                  <a:gd name="T9" fmla="*/ 5 h 10"/>
                  <a:gd name="T10" fmla="*/ 10 w 19"/>
                  <a:gd name="T11" fmla="*/ 10 h 10"/>
                  <a:gd name="T12" fmla="*/ 18 w 19"/>
                  <a:gd name="T13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">
                    <a:moveTo>
                      <a:pt x="18" y="8"/>
                    </a:moveTo>
                    <a:cubicBezTo>
                      <a:pt x="19" y="7"/>
                      <a:pt x="19" y="6"/>
                      <a:pt x="19" y="5"/>
                    </a:cubicBezTo>
                    <a:cubicBezTo>
                      <a:pt x="19" y="2"/>
                      <a:pt x="15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3"/>
                      <a:pt x="1" y="4"/>
                      <a:pt x="1" y="5"/>
                    </a:cubicBezTo>
                    <a:cubicBezTo>
                      <a:pt x="0" y="8"/>
                      <a:pt x="4" y="10"/>
                      <a:pt x="10" y="10"/>
                    </a:cubicBezTo>
                    <a:cubicBezTo>
                      <a:pt x="13" y="10"/>
                      <a:pt x="16" y="9"/>
                      <a:pt x="1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  <p:grpSp>
          <p:nvGrpSpPr>
            <p:cNvPr id="175" name="组合 174">
              <a:extLst>
                <a:ext uri="{FF2B5EF4-FFF2-40B4-BE49-F238E27FC236}">
                  <a16:creationId xmlns:a16="http://schemas.microsoft.com/office/drawing/2014/main" id="{BE36F47A-DE9F-47D9-A279-57363315366D}"/>
                </a:ext>
              </a:extLst>
            </p:cNvPr>
            <p:cNvGrpSpPr/>
            <p:nvPr/>
          </p:nvGrpSpPr>
          <p:grpSpPr>
            <a:xfrm>
              <a:off x="492622" y="2987274"/>
              <a:ext cx="1414621" cy="2169647"/>
              <a:chOff x="5093539" y="2339281"/>
              <a:chExt cx="1414621" cy="2169647"/>
            </a:xfrm>
          </p:grpSpPr>
          <p:sp>
            <p:nvSpPr>
              <p:cNvPr id="176" name="íṥļiḓé">
                <a:extLst>
                  <a:ext uri="{FF2B5EF4-FFF2-40B4-BE49-F238E27FC236}">
                    <a16:creationId xmlns:a16="http://schemas.microsoft.com/office/drawing/2014/main" id="{F9B6ABA7-8D9B-4324-AC7C-53F05587950B}"/>
                  </a:ext>
                </a:extLst>
              </p:cNvPr>
              <p:cNvSpPr/>
              <p:nvPr/>
            </p:nvSpPr>
            <p:spPr bwMode="auto">
              <a:xfrm>
                <a:off x="6049718" y="3630404"/>
                <a:ext cx="458442" cy="733506"/>
              </a:xfrm>
              <a:custGeom>
                <a:avLst/>
                <a:gdLst>
                  <a:gd name="T0" fmla="*/ 0 w 60"/>
                  <a:gd name="T1" fmla="*/ 96 h 96"/>
                  <a:gd name="T2" fmla="*/ 33 w 60"/>
                  <a:gd name="T3" fmla="*/ 81 h 96"/>
                  <a:gd name="T4" fmla="*/ 59 w 60"/>
                  <a:gd name="T5" fmla="*/ 55 h 96"/>
                  <a:gd name="T6" fmla="*/ 54 w 60"/>
                  <a:gd name="T7" fmla="*/ 2 h 96"/>
                  <a:gd name="T8" fmla="*/ 23 w 60"/>
                  <a:gd name="T9" fmla="*/ 0 h 96"/>
                  <a:gd name="T10" fmla="*/ 33 w 60"/>
                  <a:gd name="T11" fmla="*/ 42 h 96"/>
                  <a:gd name="T12" fmla="*/ 3 w 60"/>
                  <a:gd name="T13" fmla="*/ 68 h 96"/>
                  <a:gd name="T14" fmla="*/ 0 w 60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96">
                    <a:moveTo>
                      <a:pt x="0" y="96"/>
                    </a:moveTo>
                    <a:cubicBezTo>
                      <a:pt x="0" y="96"/>
                      <a:pt x="30" y="83"/>
                      <a:pt x="33" y="81"/>
                    </a:cubicBezTo>
                    <a:cubicBezTo>
                      <a:pt x="47" y="77"/>
                      <a:pt x="60" y="67"/>
                      <a:pt x="59" y="55"/>
                    </a:cubicBezTo>
                    <a:cubicBezTo>
                      <a:pt x="57" y="20"/>
                      <a:pt x="54" y="2"/>
                      <a:pt x="54" y="2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0" y="13"/>
                      <a:pt x="33" y="42"/>
                    </a:cubicBezTo>
                    <a:cubicBezTo>
                      <a:pt x="40" y="58"/>
                      <a:pt x="3" y="68"/>
                      <a:pt x="3" y="68"/>
                    </a:cubicBez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DAB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grpSp>
            <p:nvGrpSpPr>
              <p:cNvPr id="177" name="组合 176">
                <a:extLst>
                  <a:ext uri="{FF2B5EF4-FFF2-40B4-BE49-F238E27FC236}">
                    <a16:creationId xmlns:a16="http://schemas.microsoft.com/office/drawing/2014/main" id="{7C00999C-6798-40D4-864E-394CEF153DD5}"/>
                  </a:ext>
                </a:extLst>
              </p:cNvPr>
              <p:cNvGrpSpPr/>
              <p:nvPr/>
            </p:nvGrpSpPr>
            <p:grpSpPr>
              <a:xfrm>
                <a:off x="5093539" y="2339281"/>
                <a:ext cx="1368778" cy="2169647"/>
                <a:chOff x="5093539" y="2339281"/>
                <a:chExt cx="1368778" cy="2169647"/>
              </a:xfrm>
            </p:grpSpPr>
            <p:sp>
              <p:nvSpPr>
                <p:cNvPr id="178" name="is1idè">
                  <a:extLst>
                    <a:ext uri="{FF2B5EF4-FFF2-40B4-BE49-F238E27FC236}">
                      <a16:creationId xmlns:a16="http://schemas.microsoft.com/office/drawing/2014/main" id="{3DB0EC4F-3EDF-454A-971F-94D52DDA8417}"/>
                    </a:ext>
                  </a:extLst>
                </p:cNvPr>
                <p:cNvSpPr/>
                <p:nvPr/>
              </p:nvSpPr>
              <p:spPr bwMode="auto">
                <a:xfrm>
                  <a:off x="5476195" y="2996069"/>
                  <a:ext cx="626849" cy="481832"/>
                </a:xfrm>
                <a:custGeom>
                  <a:avLst/>
                  <a:gdLst>
                    <a:gd name="T0" fmla="*/ 82 w 82"/>
                    <a:gd name="T1" fmla="*/ 27 h 63"/>
                    <a:gd name="T2" fmla="*/ 56 w 82"/>
                    <a:gd name="T3" fmla="*/ 8 h 63"/>
                    <a:gd name="T4" fmla="*/ 41 w 82"/>
                    <a:gd name="T5" fmla="*/ 5 h 63"/>
                    <a:gd name="T6" fmla="*/ 41 w 82"/>
                    <a:gd name="T7" fmla="*/ 5 h 63"/>
                    <a:gd name="T8" fmla="*/ 27 w 82"/>
                    <a:gd name="T9" fmla="*/ 8 h 63"/>
                    <a:gd name="T10" fmla="*/ 0 w 82"/>
                    <a:gd name="T11" fmla="*/ 27 h 63"/>
                    <a:gd name="T12" fmla="*/ 41 w 82"/>
                    <a:gd name="T13" fmla="*/ 63 h 63"/>
                    <a:gd name="T14" fmla="*/ 41 w 82"/>
                    <a:gd name="T15" fmla="*/ 63 h 63"/>
                    <a:gd name="T16" fmla="*/ 42 w 82"/>
                    <a:gd name="T17" fmla="*/ 63 h 63"/>
                    <a:gd name="T18" fmla="*/ 42 w 82"/>
                    <a:gd name="T19" fmla="*/ 63 h 63"/>
                    <a:gd name="T20" fmla="*/ 42 w 82"/>
                    <a:gd name="T21" fmla="*/ 63 h 63"/>
                    <a:gd name="T22" fmla="*/ 82 w 82"/>
                    <a:gd name="T23" fmla="*/ 2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63">
                      <a:moveTo>
                        <a:pt x="82" y="27"/>
                      </a:moveTo>
                      <a:cubicBezTo>
                        <a:pt x="82" y="27"/>
                        <a:pt x="57" y="16"/>
                        <a:pt x="56" y="8"/>
                      </a:cubicBezTo>
                      <a:cubicBezTo>
                        <a:pt x="54" y="0"/>
                        <a:pt x="41" y="5"/>
                        <a:pt x="41" y="5"/>
                      </a:cubicBezTo>
                      <a:cubicBezTo>
                        <a:pt x="41" y="5"/>
                        <a:pt x="41" y="5"/>
                        <a:pt x="41" y="5"/>
                      </a:cubicBezTo>
                      <a:cubicBezTo>
                        <a:pt x="41" y="5"/>
                        <a:pt x="28" y="0"/>
                        <a:pt x="27" y="8"/>
                      </a:cubicBezTo>
                      <a:cubicBezTo>
                        <a:pt x="25" y="16"/>
                        <a:pt x="0" y="27"/>
                        <a:pt x="0" y="27"/>
                      </a:cubicBezTo>
                      <a:cubicBezTo>
                        <a:pt x="5" y="34"/>
                        <a:pt x="39" y="63"/>
                        <a:pt x="41" y="63"/>
                      </a:cubicBezTo>
                      <a:cubicBezTo>
                        <a:pt x="41" y="63"/>
                        <a:pt x="41" y="63"/>
                        <a:pt x="41" y="63"/>
                      </a:cubicBezTo>
                      <a:cubicBezTo>
                        <a:pt x="42" y="63"/>
                        <a:pt x="42" y="63"/>
                        <a:pt x="42" y="63"/>
                      </a:cubicBezTo>
                      <a:cubicBezTo>
                        <a:pt x="42" y="63"/>
                        <a:pt x="42" y="63"/>
                        <a:pt x="42" y="63"/>
                      </a:cubicBezTo>
                      <a:cubicBezTo>
                        <a:pt x="42" y="63"/>
                        <a:pt x="42" y="63"/>
                        <a:pt x="42" y="63"/>
                      </a:cubicBezTo>
                      <a:cubicBezTo>
                        <a:pt x="45" y="63"/>
                        <a:pt x="77" y="34"/>
                        <a:pt x="82" y="27"/>
                      </a:cubicBezTo>
                      <a:close/>
                    </a:path>
                  </a:pathLst>
                </a:custGeom>
                <a:solidFill>
                  <a:srgbClr val="DABC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79" name="iSľïdè">
                  <a:extLst>
                    <a:ext uri="{FF2B5EF4-FFF2-40B4-BE49-F238E27FC236}">
                      <a16:creationId xmlns:a16="http://schemas.microsoft.com/office/drawing/2014/main" id="{AFDF0D04-11D0-4527-9EF4-7D4B00EB35C6}"/>
                    </a:ext>
                  </a:extLst>
                </p:cNvPr>
                <p:cNvSpPr/>
                <p:nvPr/>
              </p:nvSpPr>
              <p:spPr bwMode="auto">
                <a:xfrm>
                  <a:off x="5116927" y="3186930"/>
                  <a:ext cx="1345386" cy="641818"/>
                </a:xfrm>
                <a:custGeom>
                  <a:avLst/>
                  <a:gdLst>
                    <a:gd name="T0" fmla="*/ 176 w 176"/>
                    <a:gd name="T1" fmla="*/ 72 h 84"/>
                    <a:gd name="T2" fmla="*/ 176 w 176"/>
                    <a:gd name="T3" fmla="*/ 69 h 84"/>
                    <a:gd name="T4" fmla="*/ 161 w 176"/>
                    <a:gd name="T5" fmla="*/ 21 h 84"/>
                    <a:gd name="T6" fmla="*/ 128 w 176"/>
                    <a:gd name="T7" fmla="*/ 0 h 84"/>
                    <a:gd name="T8" fmla="*/ 88 w 176"/>
                    <a:gd name="T9" fmla="*/ 21 h 84"/>
                    <a:gd name="T10" fmla="*/ 48 w 176"/>
                    <a:gd name="T11" fmla="*/ 0 h 84"/>
                    <a:gd name="T12" fmla="*/ 15 w 176"/>
                    <a:gd name="T13" fmla="*/ 21 h 84"/>
                    <a:gd name="T14" fmla="*/ 0 w 176"/>
                    <a:gd name="T15" fmla="*/ 69 h 84"/>
                    <a:gd name="T16" fmla="*/ 0 w 176"/>
                    <a:gd name="T17" fmla="*/ 72 h 84"/>
                    <a:gd name="T18" fmla="*/ 30 w 176"/>
                    <a:gd name="T19" fmla="*/ 72 h 84"/>
                    <a:gd name="T20" fmla="*/ 29 w 176"/>
                    <a:gd name="T21" fmla="*/ 71 h 84"/>
                    <a:gd name="T22" fmla="*/ 31 w 176"/>
                    <a:gd name="T23" fmla="*/ 83 h 84"/>
                    <a:gd name="T24" fmla="*/ 145 w 176"/>
                    <a:gd name="T25" fmla="*/ 84 h 84"/>
                    <a:gd name="T26" fmla="*/ 148 w 176"/>
                    <a:gd name="T27" fmla="*/ 72 h 84"/>
                    <a:gd name="T28" fmla="*/ 176 w 176"/>
                    <a:gd name="T29" fmla="*/ 72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6" h="84">
                      <a:moveTo>
                        <a:pt x="176" y="72"/>
                      </a:moveTo>
                      <a:cubicBezTo>
                        <a:pt x="176" y="71"/>
                        <a:pt x="176" y="70"/>
                        <a:pt x="176" y="69"/>
                      </a:cubicBezTo>
                      <a:cubicBezTo>
                        <a:pt x="173" y="39"/>
                        <a:pt x="172" y="34"/>
                        <a:pt x="161" y="21"/>
                      </a:cubicBezTo>
                      <a:cubicBezTo>
                        <a:pt x="150" y="8"/>
                        <a:pt x="128" y="0"/>
                        <a:pt x="128" y="0"/>
                      </a:cubicBezTo>
                      <a:cubicBezTo>
                        <a:pt x="128" y="0"/>
                        <a:pt x="117" y="21"/>
                        <a:pt x="88" y="21"/>
                      </a:cubicBezTo>
                      <a:cubicBezTo>
                        <a:pt x="59" y="21"/>
                        <a:pt x="48" y="0"/>
                        <a:pt x="48" y="0"/>
                      </a:cubicBezTo>
                      <a:cubicBezTo>
                        <a:pt x="48" y="0"/>
                        <a:pt x="26" y="8"/>
                        <a:pt x="15" y="21"/>
                      </a:cubicBezTo>
                      <a:cubicBezTo>
                        <a:pt x="4" y="34"/>
                        <a:pt x="3" y="39"/>
                        <a:pt x="0" y="69"/>
                      </a:cubicBezTo>
                      <a:cubicBezTo>
                        <a:pt x="0" y="70"/>
                        <a:pt x="0" y="71"/>
                        <a:pt x="0" y="72"/>
                      </a:cubicBezTo>
                      <a:cubicBezTo>
                        <a:pt x="30" y="72"/>
                        <a:pt x="30" y="72"/>
                        <a:pt x="30" y="72"/>
                      </a:cubicBezTo>
                      <a:cubicBezTo>
                        <a:pt x="29" y="71"/>
                        <a:pt x="29" y="71"/>
                        <a:pt x="29" y="71"/>
                      </a:cubicBezTo>
                      <a:cubicBezTo>
                        <a:pt x="31" y="83"/>
                        <a:pt x="31" y="83"/>
                        <a:pt x="31" y="83"/>
                      </a:cubicBezTo>
                      <a:cubicBezTo>
                        <a:pt x="145" y="84"/>
                        <a:pt x="145" y="84"/>
                        <a:pt x="145" y="84"/>
                      </a:cubicBezTo>
                      <a:cubicBezTo>
                        <a:pt x="148" y="72"/>
                        <a:pt x="148" y="72"/>
                        <a:pt x="148" y="72"/>
                      </a:cubicBezTo>
                      <a:lnTo>
                        <a:pt x="176" y="72"/>
                      </a:lnTo>
                      <a:close/>
                    </a:path>
                  </a:pathLst>
                </a:custGeom>
                <a:solidFill>
                  <a:srgbClr val="EC9C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0" name="íṩ1îḓé">
                  <a:extLst>
                    <a:ext uri="{FF2B5EF4-FFF2-40B4-BE49-F238E27FC236}">
                      <a16:creationId xmlns:a16="http://schemas.microsoft.com/office/drawing/2014/main" id="{DA6DD9AE-27E0-402E-B379-8B4B91894024}"/>
                    </a:ext>
                  </a:extLst>
                </p:cNvPr>
                <p:cNvSpPr/>
                <p:nvPr/>
              </p:nvSpPr>
              <p:spPr bwMode="auto">
                <a:xfrm>
                  <a:off x="5797104" y="3186930"/>
                  <a:ext cx="665208" cy="641818"/>
                </a:xfrm>
                <a:custGeom>
                  <a:avLst/>
                  <a:gdLst>
                    <a:gd name="T0" fmla="*/ 87 w 87"/>
                    <a:gd name="T1" fmla="*/ 69 h 84"/>
                    <a:gd name="T2" fmla="*/ 72 w 87"/>
                    <a:gd name="T3" fmla="*/ 21 h 84"/>
                    <a:gd name="T4" fmla="*/ 39 w 87"/>
                    <a:gd name="T5" fmla="*/ 0 h 84"/>
                    <a:gd name="T6" fmla="*/ 0 w 87"/>
                    <a:gd name="T7" fmla="*/ 21 h 84"/>
                    <a:gd name="T8" fmla="*/ 0 w 87"/>
                    <a:gd name="T9" fmla="*/ 83 h 84"/>
                    <a:gd name="T10" fmla="*/ 56 w 87"/>
                    <a:gd name="T11" fmla="*/ 84 h 84"/>
                    <a:gd name="T12" fmla="*/ 59 w 87"/>
                    <a:gd name="T13" fmla="*/ 72 h 84"/>
                    <a:gd name="T14" fmla="*/ 87 w 87"/>
                    <a:gd name="T15" fmla="*/ 72 h 84"/>
                    <a:gd name="T16" fmla="*/ 87 w 87"/>
                    <a:gd name="T17" fmla="*/ 69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4">
                      <a:moveTo>
                        <a:pt x="87" y="69"/>
                      </a:moveTo>
                      <a:cubicBezTo>
                        <a:pt x="84" y="39"/>
                        <a:pt x="83" y="34"/>
                        <a:pt x="72" y="21"/>
                      </a:cubicBezTo>
                      <a:cubicBezTo>
                        <a:pt x="61" y="8"/>
                        <a:pt x="39" y="0"/>
                        <a:pt x="39" y="0"/>
                      </a:cubicBezTo>
                      <a:cubicBezTo>
                        <a:pt x="39" y="0"/>
                        <a:pt x="28" y="21"/>
                        <a:pt x="0" y="21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56" y="84"/>
                        <a:pt x="56" y="84"/>
                        <a:pt x="56" y="84"/>
                      </a:cubicBezTo>
                      <a:cubicBezTo>
                        <a:pt x="59" y="72"/>
                        <a:pt x="59" y="72"/>
                        <a:pt x="59" y="72"/>
                      </a:cubicBezTo>
                      <a:cubicBezTo>
                        <a:pt x="87" y="72"/>
                        <a:pt x="87" y="72"/>
                        <a:pt x="87" y="72"/>
                      </a:cubicBezTo>
                      <a:cubicBezTo>
                        <a:pt x="87" y="71"/>
                        <a:pt x="87" y="70"/>
                        <a:pt x="87" y="69"/>
                      </a:cubicBezTo>
                      <a:close/>
                    </a:path>
                  </a:pathLst>
                </a:custGeom>
                <a:solidFill>
                  <a:srgbClr val="FF87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1" name="îṧ1ïďé">
                  <a:extLst>
                    <a:ext uri="{FF2B5EF4-FFF2-40B4-BE49-F238E27FC236}">
                      <a16:creationId xmlns:a16="http://schemas.microsoft.com/office/drawing/2014/main" id="{7017FE19-5BCD-4671-83C7-3218B0D3A38E}"/>
                    </a:ext>
                  </a:extLst>
                </p:cNvPr>
                <p:cNvSpPr/>
                <p:nvPr/>
              </p:nvSpPr>
              <p:spPr bwMode="auto">
                <a:xfrm>
                  <a:off x="5705416" y="3072787"/>
                  <a:ext cx="245126" cy="114143"/>
                </a:xfrm>
                <a:custGeom>
                  <a:avLst/>
                  <a:gdLst>
                    <a:gd name="T0" fmla="*/ 32 w 32"/>
                    <a:gd name="T1" fmla="*/ 8 h 15"/>
                    <a:gd name="T2" fmla="*/ 27 w 32"/>
                    <a:gd name="T3" fmla="*/ 2 h 15"/>
                    <a:gd name="T4" fmla="*/ 0 w 32"/>
                    <a:gd name="T5" fmla="*/ 6 h 15"/>
                    <a:gd name="T6" fmla="*/ 14 w 32"/>
                    <a:gd name="T7" fmla="*/ 14 h 15"/>
                    <a:gd name="T8" fmla="*/ 32 w 32"/>
                    <a:gd name="T9" fmla="*/ 8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2" h="15">
                      <a:moveTo>
                        <a:pt x="32" y="8"/>
                      </a:moveTo>
                      <a:cubicBezTo>
                        <a:pt x="32" y="8"/>
                        <a:pt x="29" y="5"/>
                        <a:pt x="27" y="2"/>
                      </a:cubicBezTo>
                      <a:cubicBezTo>
                        <a:pt x="26" y="0"/>
                        <a:pt x="0" y="6"/>
                        <a:pt x="0" y="6"/>
                      </a:cubicBezTo>
                      <a:cubicBezTo>
                        <a:pt x="0" y="6"/>
                        <a:pt x="8" y="15"/>
                        <a:pt x="14" y="14"/>
                      </a:cubicBezTo>
                      <a:cubicBezTo>
                        <a:pt x="27" y="12"/>
                        <a:pt x="32" y="8"/>
                        <a:pt x="32" y="8"/>
                      </a:cubicBezTo>
                      <a:close/>
                    </a:path>
                  </a:pathLst>
                </a:custGeom>
                <a:solidFill>
                  <a:srgbClr val="CFA84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2" name="îŝ1îḓè">
                  <a:extLst>
                    <a:ext uri="{FF2B5EF4-FFF2-40B4-BE49-F238E27FC236}">
                      <a16:creationId xmlns:a16="http://schemas.microsoft.com/office/drawing/2014/main" id="{B1268B7F-392E-4394-BB7B-5EEE92A4962A}"/>
                    </a:ext>
                  </a:extLst>
                </p:cNvPr>
                <p:cNvSpPr/>
                <p:nvPr/>
              </p:nvSpPr>
              <p:spPr bwMode="auto">
                <a:xfrm>
                  <a:off x="5774650" y="3806294"/>
                  <a:ext cx="473411" cy="442537"/>
                </a:xfrm>
                <a:custGeom>
                  <a:avLst/>
                  <a:gdLst>
                    <a:gd name="T0" fmla="*/ 474 w 506"/>
                    <a:gd name="T1" fmla="*/ 473 h 473"/>
                    <a:gd name="T2" fmla="*/ 506 w 506"/>
                    <a:gd name="T3" fmla="*/ 0 h 473"/>
                    <a:gd name="T4" fmla="*/ 8 w 506"/>
                    <a:gd name="T5" fmla="*/ 0 h 473"/>
                    <a:gd name="T6" fmla="*/ 0 w 506"/>
                    <a:gd name="T7" fmla="*/ 473 h 473"/>
                    <a:gd name="T8" fmla="*/ 474 w 506"/>
                    <a:gd name="T9" fmla="*/ 473 h 4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06" h="473">
                      <a:moveTo>
                        <a:pt x="474" y="473"/>
                      </a:moveTo>
                      <a:lnTo>
                        <a:pt x="506" y="0"/>
                      </a:lnTo>
                      <a:lnTo>
                        <a:pt x="8" y="0"/>
                      </a:lnTo>
                      <a:lnTo>
                        <a:pt x="0" y="473"/>
                      </a:lnTo>
                      <a:lnTo>
                        <a:pt x="474" y="473"/>
                      </a:lnTo>
                      <a:close/>
                    </a:path>
                  </a:pathLst>
                </a:custGeom>
                <a:solidFill>
                  <a:srgbClr val="24518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3" name="íṧḻîde">
                  <a:extLst>
                    <a:ext uri="{FF2B5EF4-FFF2-40B4-BE49-F238E27FC236}">
                      <a16:creationId xmlns:a16="http://schemas.microsoft.com/office/drawing/2014/main" id="{AE7DA9DA-CB20-4E18-98BF-03873796C9BC}"/>
                    </a:ext>
                  </a:extLst>
                </p:cNvPr>
                <p:cNvSpPr/>
                <p:nvPr/>
              </p:nvSpPr>
              <p:spPr bwMode="auto">
                <a:xfrm>
                  <a:off x="5338663" y="3806294"/>
                  <a:ext cx="458442" cy="442537"/>
                </a:xfrm>
                <a:custGeom>
                  <a:avLst/>
                  <a:gdLst>
                    <a:gd name="T0" fmla="*/ 490 w 490"/>
                    <a:gd name="T1" fmla="*/ 473 h 473"/>
                    <a:gd name="T2" fmla="*/ 490 w 490"/>
                    <a:gd name="T3" fmla="*/ 0 h 473"/>
                    <a:gd name="T4" fmla="*/ 0 w 490"/>
                    <a:gd name="T5" fmla="*/ 0 h 473"/>
                    <a:gd name="T6" fmla="*/ 24 w 490"/>
                    <a:gd name="T7" fmla="*/ 473 h 473"/>
                    <a:gd name="T8" fmla="*/ 490 w 490"/>
                    <a:gd name="T9" fmla="*/ 473 h 4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0" h="473">
                      <a:moveTo>
                        <a:pt x="490" y="473"/>
                      </a:moveTo>
                      <a:lnTo>
                        <a:pt x="490" y="0"/>
                      </a:lnTo>
                      <a:lnTo>
                        <a:pt x="0" y="0"/>
                      </a:lnTo>
                      <a:lnTo>
                        <a:pt x="24" y="473"/>
                      </a:lnTo>
                      <a:lnTo>
                        <a:pt x="490" y="473"/>
                      </a:lnTo>
                      <a:close/>
                    </a:path>
                  </a:pathLst>
                </a:custGeom>
                <a:solidFill>
                  <a:srgbClr val="295A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4" name="iṧľîḋê">
                  <a:extLst>
                    <a:ext uri="{FF2B5EF4-FFF2-40B4-BE49-F238E27FC236}">
                      <a16:creationId xmlns:a16="http://schemas.microsoft.com/office/drawing/2014/main" id="{B6932E0B-E4A9-4CBD-94B9-D2FF78EDDF5C}"/>
                    </a:ext>
                  </a:extLst>
                </p:cNvPr>
                <p:cNvSpPr/>
                <p:nvPr/>
              </p:nvSpPr>
              <p:spPr bwMode="auto">
                <a:xfrm>
                  <a:off x="5507070" y="2683580"/>
                  <a:ext cx="282550" cy="480896"/>
                </a:xfrm>
                <a:custGeom>
                  <a:avLst/>
                  <a:gdLst>
                    <a:gd name="T0" fmla="*/ 37 w 37"/>
                    <a:gd name="T1" fmla="*/ 63 h 63"/>
                    <a:gd name="T2" fmla="*/ 7 w 37"/>
                    <a:gd name="T3" fmla="*/ 39 h 63"/>
                    <a:gd name="T4" fmla="*/ 3 w 37"/>
                    <a:gd name="T5" fmla="*/ 0 h 63"/>
                    <a:gd name="T6" fmla="*/ 37 w 37"/>
                    <a:gd name="T7" fmla="*/ 0 h 63"/>
                    <a:gd name="T8" fmla="*/ 37 w 37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63">
                      <a:moveTo>
                        <a:pt x="37" y="63"/>
                      </a:moveTo>
                      <a:cubicBezTo>
                        <a:pt x="37" y="63"/>
                        <a:pt x="14" y="58"/>
                        <a:pt x="7" y="39"/>
                      </a:cubicBezTo>
                      <a:cubicBezTo>
                        <a:pt x="0" y="21"/>
                        <a:pt x="3" y="0"/>
                        <a:pt x="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lnTo>
                        <a:pt x="37" y="63"/>
                      </a:lnTo>
                      <a:close/>
                    </a:path>
                  </a:pathLst>
                </a:custGeom>
                <a:solidFill>
                  <a:srgbClr val="E6D59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5" name="íṩḷíḍe">
                  <a:extLst>
                    <a:ext uri="{FF2B5EF4-FFF2-40B4-BE49-F238E27FC236}">
                      <a16:creationId xmlns:a16="http://schemas.microsoft.com/office/drawing/2014/main" id="{FF58E199-9410-44E3-AE06-FD9CC70EF148}"/>
                    </a:ext>
                  </a:extLst>
                </p:cNvPr>
                <p:cNvSpPr/>
                <p:nvPr/>
              </p:nvSpPr>
              <p:spPr bwMode="auto">
                <a:xfrm>
                  <a:off x="5789620" y="2683580"/>
                  <a:ext cx="282550" cy="480896"/>
                </a:xfrm>
                <a:custGeom>
                  <a:avLst/>
                  <a:gdLst>
                    <a:gd name="T0" fmla="*/ 0 w 37"/>
                    <a:gd name="T1" fmla="*/ 63 h 63"/>
                    <a:gd name="T2" fmla="*/ 31 w 37"/>
                    <a:gd name="T3" fmla="*/ 39 h 63"/>
                    <a:gd name="T4" fmla="*/ 34 w 37"/>
                    <a:gd name="T5" fmla="*/ 0 h 63"/>
                    <a:gd name="T6" fmla="*/ 0 w 37"/>
                    <a:gd name="T7" fmla="*/ 0 h 63"/>
                    <a:gd name="T8" fmla="*/ 0 w 37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63">
                      <a:moveTo>
                        <a:pt x="0" y="63"/>
                      </a:moveTo>
                      <a:cubicBezTo>
                        <a:pt x="0" y="63"/>
                        <a:pt x="24" y="58"/>
                        <a:pt x="31" y="39"/>
                      </a:cubicBezTo>
                      <a:cubicBezTo>
                        <a:pt x="37" y="21"/>
                        <a:pt x="34" y="0"/>
                        <a:pt x="3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63"/>
                      </a:lnTo>
                      <a:close/>
                    </a:path>
                  </a:pathLst>
                </a:custGeom>
                <a:solidFill>
                  <a:srgbClr val="DABC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6" name="ïṥľîḍè">
                  <a:extLst>
                    <a:ext uri="{FF2B5EF4-FFF2-40B4-BE49-F238E27FC236}">
                      <a16:creationId xmlns:a16="http://schemas.microsoft.com/office/drawing/2014/main" id="{61139B4A-6F74-4675-8AA1-3460AF47B6F5}"/>
                    </a:ext>
                  </a:extLst>
                </p:cNvPr>
                <p:cNvSpPr/>
                <p:nvPr/>
              </p:nvSpPr>
              <p:spPr bwMode="auto">
                <a:xfrm>
                  <a:off x="5452805" y="2339281"/>
                  <a:ext cx="681113" cy="397628"/>
                </a:xfrm>
                <a:custGeom>
                  <a:avLst/>
                  <a:gdLst>
                    <a:gd name="T0" fmla="*/ 87 w 89"/>
                    <a:gd name="T1" fmla="*/ 41 h 52"/>
                    <a:gd name="T2" fmla="*/ 62 w 89"/>
                    <a:gd name="T3" fmla="*/ 4 h 52"/>
                    <a:gd name="T4" fmla="*/ 62 w 89"/>
                    <a:gd name="T5" fmla="*/ 3 h 52"/>
                    <a:gd name="T6" fmla="*/ 45 w 89"/>
                    <a:gd name="T7" fmla="*/ 0 h 52"/>
                    <a:gd name="T8" fmla="*/ 27 w 89"/>
                    <a:gd name="T9" fmla="*/ 3 h 52"/>
                    <a:gd name="T10" fmla="*/ 27 w 89"/>
                    <a:gd name="T11" fmla="*/ 4 h 52"/>
                    <a:gd name="T12" fmla="*/ 2 w 89"/>
                    <a:gd name="T13" fmla="*/ 41 h 52"/>
                    <a:gd name="T14" fmla="*/ 0 w 89"/>
                    <a:gd name="T15" fmla="*/ 41 h 52"/>
                    <a:gd name="T16" fmla="*/ 0 w 89"/>
                    <a:gd name="T17" fmla="*/ 52 h 52"/>
                    <a:gd name="T18" fmla="*/ 89 w 89"/>
                    <a:gd name="T19" fmla="*/ 52 h 52"/>
                    <a:gd name="T20" fmla="*/ 89 w 89"/>
                    <a:gd name="T21" fmla="*/ 41 h 52"/>
                    <a:gd name="T22" fmla="*/ 87 w 89"/>
                    <a:gd name="T23" fmla="*/ 41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9" h="52">
                      <a:moveTo>
                        <a:pt x="87" y="41"/>
                      </a:moveTo>
                      <a:cubicBezTo>
                        <a:pt x="86" y="34"/>
                        <a:pt x="81" y="12"/>
                        <a:pt x="62" y="4"/>
                      </a:cubicBezTo>
                      <a:cubicBezTo>
                        <a:pt x="62" y="3"/>
                        <a:pt x="62" y="3"/>
                        <a:pt x="62" y="3"/>
                      </a:cubicBezTo>
                      <a:cubicBezTo>
                        <a:pt x="52" y="0"/>
                        <a:pt x="45" y="0"/>
                        <a:pt x="45" y="0"/>
                      </a:cubicBezTo>
                      <a:cubicBezTo>
                        <a:pt x="44" y="0"/>
                        <a:pt x="37" y="0"/>
                        <a:pt x="27" y="3"/>
                      </a:cubicBezTo>
                      <a:cubicBezTo>
                        <a:pt x="27" y="4"/>
                        <a:pt x="27" y="4"/>
                        <a:pt x="27" y="4"/>
                      </a:cubicBezTo>
                      <a:cubicBezTo>
                        <a:pt x="8" y="12"/>
                        <a:pt x="3" y="34"/>
                        <a:pt x="2" y="41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0" y="52"/>
                        <a:pt x="0" y="52"/>
                        <a:pt x="0" y="52"/>
                      </a:cubicBezTo>
                      <a:cubicBezTo>
                        <a:pt x="89" y="52"/>
                        <a:pt x="89" y="52"/>
                        <a:pt x="89" y="52"/>
                      </a:cubicBezTo>
                      <a:cubicBezTo>
                        <a:pt x="89" y="41"/>
                        <a:pt x="89" y="41"/>
                        <a:pt x="89" y="41"/>
                      </a:cubicBezTo>
                      <a:cubicBezTo>
                        <a:pt x="87" y="41"/>
                        <a:pt x="87" y="41"/>
                        <a:pt x="87" y="41"/>
                      </a:cubicBezTo>
                    </a:path>
                  </a:pathLst>
                </a:custGeom>
                <a:solidFill>
                  <a:srgbClr val="EC9C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7" name="ïṩlíḑè">
                  <a:extLst>
                    <a:ext uri="{FF2B5EF4-FFF2-40B4-BE49-F238E27FC236}">
                      <a16:creationId xmlns:a16="http://schemas.microsoft.com/office/drawing/2014/main" id="{B926BBC3-B983-4332-AFC6-160AE39ADE94}"/>
                    </a:ext>
                  </a:extLst>
                </p:cNvPr>
                <p:cNvSpPr/>
                <p:nvPr/>
              </p:nvSpPr>
              <p:spPr bwMode="auto">
                <a:xfrm>
                  <a:off x="5789620" y="2339281"/>
                  <a:ext cx="344299" cy="397628"/>
                </a:xfrm>
                <a:custGeom>
                  <a:avLst/>
                  <a:gdLst>
                    <a:gd name="T0" fmla="*/ 43 w 45"/>
                    <a:gd name="T1" fmla="*/ 41 h 52"/>
                    <a:gd name="T2" fmla="*/ 18 w 45"/>
                    <a:gd name="T3" fmla="*/ 4 h 52"/>
                    <a:gd name="T4" fmla="*/ 18 w 45"/>
                    <a:gd name="T5" fmla="*/ 3 h 52"/>
                    <a:gd name="T6" fmla="*/ 1 w 45"/>
                    <a:gd name="T7" fmla="*/ 0 h 52"/>
                    <a:gd name="T8" fmla="*/ 0 w 45"/>
                    <a:gd name="T9" fmla="*/ 0 h 52"/>
                    <a:gd name="T10" fmla="*/ 0 w 45"/>
                    <a:gd name="T11" fmla="*/ 52 h 52"/>
                    <a:gd name="T12" fmla="*/ 45 w 45"/>
                    <a:gd name="T13" fmla="*/ 52 h 52"/>
                    <a:gd name="T14" fmla="*/ 45 w 45"/>
                    <a:gd name="T15" fmla="*/ 41 h 52"/>
                    <a:gd name="T16" fmla="*/ 43 w 45"/>
                    <a:gd name="T17" fmla="*/ 41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5" h="52">
                      <a:moveTo>
                        <a:pt x="43" y="41"/>
                      </a:moveTo>
                      <a:cubicBezTo>
                        <a:pt x="42" y="34"/>
                        <a:pt x="37" y="12"/>
                        <a:pt x="18" y="4"/>
                      </a:cubicBezTo>
                      <a:cubicBezTo>
                        <a:pt x="18" y="3"/>
                        <a:pt x="18" y="3"/>
                        <a:pt x="18" y="3"/>
                      </a:cubicBezTo>
                      <a:cubicBezTo>
                        <a:pt x="8" y="0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52"/>
                        <a:pt x="0" y="52"/>
                        <a:pt x="0" y="52"/>
                      </a:cubicBezTo>
                      <a:cubicBezTo>
                        <a:pt x="45" y="52"/>
                        <a:pt x="45" y="52"/>
                        <a:pt x="45" y="52"/>
                      </a:cubicBezTo>
                      <a:cubicBezTo>
                        <a:pt x="45" y="41"/>
                        <a:pt x="45" y="41"/>
                        <a:pt x="45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</a:path>
                  </a:pathLst>
                </a:custGeom>
                <a:solidFill>
                  <a:srgbClr val="FF87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8" name="íṣliḍe">
                  <a:extLst>
                    <a:ext uri="{FF2B5EF4-FFF2-40B4-BE49-F238E27FC236}">
                      <a16:creationId xmlns:a16="http://schemas.microsoft.com/office/drawing/2014/main" id="{EC2F18C9-CAFB-4ACE-B3EB-FAB9ED59C08E}"/>
                    </a:ext>
                  </a:extLst>
                </p:cNvPr>
                <p:cNvSpPr/>
                <p:nvPr/>
              </p:nvSpPr>
              <p:spPr bwMode="auto">
                <a:xfrm>
                  <a:off x="5591273" y="2370156"/>
                  <a:ext cx="114143" cy="267580"/>
                </a:xfrm>
                <a:custGeom>
                  <a:avLst/>
                  <a:gdLst>
                    <a:gd name="T0" fmla="*/ 9 w 15"/>
                    <a:gd name="T1" fmla="*/ 0 h 35"/>
                    <a:gd name="T2" fmla="*/ 15 w 15"/>
                    <a:gd name="T3" fmla="*/ 32 h 35"/>
                    <a:gd name="T4" fmla="*/ 10 w 15"/>
                    <a:gd name="T5" fmla="*/ 32 h 35"/>
                    <a:gd name="T6" fmla="*/ 0 w 15"/>
                    <a:gd name="T7" fmla="*/ 6 h 35"/>
                    <a:gd name="T8" fmla="*/ 9 w 15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35">
                      <a:moveTo>
                        <a:pt x="9" y="0"/>
                      </a:moveTo>
                      <a:cubicBezTo>
                        <a:pt x="9" y="0"/>
                        <a:pt x="5" y="6"/>
                        <a:pt x="15" y="32"/>
                      </a:cubicBezTo>
                      <a:cubicBezTo>
                        <a:pt x="14" y="35"/>
                        <a:pt x="10" y="33"/>
                        <a:pt x="10" y="32"/>
                      </a:cubicBezTo>
                      <a:cubicBezTo>
                        <a:pt x="2" y="20"/>
                        <a:pt x="0" y="6"/>
                        <a:pt x="0" y="6"/>
                      </a:cubicBezTo>
                      <a:cubicBezTo>
                        <a:pt x="0" y="6"/>
                        <a:pt x="3" y="3"/>
                        <a:pt x="9" y="0"/>
                      </a:cubicBezTo>
                      <a:close/>
                    </a:path>
                  </a:pathLst>
                </a:custGeom>
                <a:solidFill>
                  <a:srgbClr val="ECC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9" name="îšliḍê">
                  <a:extLst>
                    <a:ext uri="{FF2B5EF4-FFF2-40B4-BE49-F238E27FC236}">
                      <a16:creationId xmlns:a16="http://schemas.microsoft.com/office/drawing/2014/main" id="{CA3CEC4E-6F62-491A-807C-A751FD1C7F3C}"/>
                    </a:ext>
                  </a:extLst>
                </p:cNvPr>
                <p:cNvSpPr/>
                <p:nvPr/>
              </p:nvSpPr>
              <p:spPr bwMode="auto">
                <a:xfrm>
                  <a:off x="5881308" y="2370156"/>
                  <a:ext cx="115078" cy="267580"/>
                </a:xfrm>
                <a:custGeom>
                  <a:avLst/>
                  <a:gdLst>
                    <a:gd name="T0" fmla="*/ 6 w 15"/>
                    <a:gd name="T1" fmla="*/ 0 h 35"/>
                    <a:gd name="T2" fmla="*/ 0 w 15"/>
                    <a:gd name="T3" fmla="*/ 32 h 35"/>
                    <a:gd name="T4" fmla="*/ 5 w 15"/>
                    <a:gd name="T5" fmla="*/ 32 h 35"/>
                    <a:gd name="T6" fmla="*/ 15 w 15"/>
                    <a:gd name="T7" fmla="*/ 6 h 35"/>
                    <a:gd name="T8" fmla="*/ 6 w 15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35">
                      <a:moveTo>
                        <a:pt x="6" y="0"/>
                      </a:moveTo>
                      <a:cubicBezTo>
                        <a:pt x="6" y="0"/>
                        <a:pt x="10" y="6"/>
                        <a:pt x="0" y="32"/>
                      </a:cubicBezTo>
                      <a:cubicBezTo>
                        <a:pt x="1" y="35"/>
                        <a:pt x="5" y="33"/>
                        <a:pt x="5" y="32"/>
                      </a:cubicBezTo>
                      <a:cubicBezTo>
                        <a:pt x="13" y="20"/>
                        <a:pt x="15" y="6"/>
                        <a:pt x="15" y="6"/>
                      </a:cubicBezTo>
                      <a:cubicBezTo>
                        <a:pt x="15" y="6"/>
                        <a:pt x="12" y="3"/>
                        <a:pt x="6" y="0"/>
                      </a:cubicBezTo>
                      <a:close/>
                    </a:path>
                  </a:pathLst>
                </a:custGeom>
                <a:solidFill>
                  <a:srgbClr val="EC9C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0" name="íSļiḍè">
                  <a:extLst>
                    <a:ext uri="{FF2B5EF4-FFF2-40B4-BE49-F238E27FC236}">
                      <a16:creationId xmlns:a16="http://schemas.microsoft.com/office/drawing/2014/main" id="{8629016C-712D-41EE-81E6-6A29582742D1}"/>
                    </a:ext>
                  </a:extLst>
                </p:cNvPr>
                <p:cNvSpPr/>
                <p:nvPr/>
              </p:nvSpPr>
              <p:spPr bwMode="auto">
                <a:xfrm>
                  <a:off x="5452805" y="2652706"/>
                  <a:ext cx="336814" cy="30875"/>
                </a:xfrm>
                <a:custGeom>
                  <a:avLst/>
                  <a:gdLst>
                    <a:gd name="T0" fmla="*/ 360 w 360"/>
                    <a:gd name="T1" fmla="*/ 0 h 33"/>
                    <a:gd name="T2" fmla="*/ 17 w 360"/>
                    <a:gd name="T3" fmla="*/ 0 h 33"/>
                    <a:gd name="T4" fmla="*/ 17 w 360"/>
                    <a:gd name="T5" fmla="*/ 0 h 33"/>
                    <a:gd name="T6" fmla="*/ 0 w 360"/>
                    <a:gd name="T7" fmla="*/ 0 h 33"/>
                    <a:gd name="T8" fmla="*/ 0 w 360"/>
                    <a:gd name="T9" fmla="*/ 33 h 33"/>
                    <a:gd name="T10" fmla="*/ 360 w 360"/>
                    <a:gd name="T11" fmla="*/ 33 h 33"/>
                    <a:gd name="T12" fmla="*/ 360 w 360"/>
                    <a:gd name="T13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0" h="33">
                      <a:moveTo>
                        <a:pt x="360" y="0"/>
                      </a:move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3"/>
                      </a:lnTo>
                      <a:lnTo>
                        <a:pt x="360" y="33"/>
                      </a:lnTo>
                      <a:lnTo>
                        <a:pt x="360" y="0"/>
                      </a:lnTo>
                      <a:close/>
                    </a:path>
                  </a:pathLst>
                </a:custGeom>
                <a:solidFill>
                  <a:srgbClr val="EC77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1" name="ïSľiḑè">
                  <a:extLst>
                    <a:ext uri="{FF2B5EF4-FFF2-40B4-BE49-F238E27FC236}">
                      <a16:creationId xmlns:a16="http://schemas.microsoft.com/office/drawing/2014/main" id="{5906E0A8-4588-4BF1-9769-4B557509C6D4}"/>
                    </a:ext>
                  </a:extLst>
                </p:cNvPr>
                <p:cNvSpPr/>
                <p:nvPr/>
              </p:nvSpPr>
              <p:spPr bwMode="auto">
                <a:xfrm>
                  <a:off x="5452805" y="2652706"/>
                  <a:ext cx="336814" cy="30875"/>
                </a:xfrm>
                <a:custGeom>
                  <a:avLst/>
                  <a:gdLst>
                    <a:gd name="T0" fmla="*/ 360 w 360"/>
                    <a:gd name="T1" fmla="*/ 0 h 33"/>
                    <a:gd name="T2" fmla="*/ 17 w 360"/>
                    <a:gd name="T3" fmla="*/ 0 h 33"/>
                    <a:gd name="T4" fmla="*/ 17 w 360"/>
                    <a:gd name="T5" fmla="*/ 0 h 33"/>
                    <a:gd name="T6" fmla="*/ 0 w 360"/>
                    <a:gd name="T7" fmla="*/ 0 h 33"/>
                    <a:gd name="T8" fmla="*/ 0 w 360"/>
                    <a:gd name="T9" fmla="*/ 33 h 33"/>
                    <a:gd name="T10" fmla="*/ 360 w 360"/>
                    <a:gd name="T11" fmla="*/ 33 h 33"/>
                    <a:gd name="T12" fmla="*/ 360 w 360"/>
                    <a:gd name="T13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0" h="33">
                      <a:moveTo>
                        <a:pt x="360" y="0"/>
                      </a:move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3"/>
                      </a:lnTo>
                      <a:lnTo>
                        <a:pt x="360" y="33"/>
                      </a:lnTo>
                      <a:lnTo>
                        <a:pt x="36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2" name="ïŝľíḓé">
                  <a:extLst>
                    <a:ext uri="{FF2B5EF4-FFF2-40B4-BE49-F238E27FC236}">
                      <a16:creationId xmlns:a16="http://schemas.microsoft.com/office/drawing/2014/main" id="{60E7C01B-79E8-4B47-B15F-B7D144B168FD}"/>
                    </a:ext>
                  </a:extLst>
                </p:cNvPr>
                <p:cNvSpPr/>
                <p:nvPr/>
              </p:nvSpPr>
              <p:spPr bwMode="auto">
                <a:xfrm>
                  <a:off x="5789620" y="2652706"/>
                  <a:ext cx="344299" cy="30875"/>
                </a:xfrm>
                <a:custGeom>
                  <a:avLst/>
                  <a:gdLst>
                    <a:gd name="T0" fmla="*/ 368 w 368"/>
                    <a:gd name="T1" fmla="*/ 0 h 33"/>
                    <a:gd name="T2" fmla="*/ 351 w 368"/>
                    <a:gd name="T3" fmla="*/ 0 h 33"/>
                    <a:gd name="T4" fmla="*/ 351 w 368"/>
                    <a:gd name="T5" fmla="*/ 0 h 33"/>
                    <a:gd name="T6" fmla="*/ 0 w 368"/>
                    <a:gd name="T7" fmla="*/ 0 h 33"/>
                    <a:gd name="T8" fmla="*/ 0 w 368"/>
                    <a:gd name="T9" fmla="*/ 33 h 33"/>
                    <a:gd name="T10" fmla="*/ 368 w 368"/>
                    <a:gd name="T11" fmla="*/ 33 h 33"/>
                    <a:gd name="T12" fmla="*/ 368 w 368"/>
                    <a:gd name="T13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8" h="33">
                      <a:moveTo>
                        <a:pt x="368" y="0"/>
                      </a:moveTo>
                      <a:lnTo>
                        <a:pt x="351" y="0"/>
                      </a:lnTo>
                      <a:lnTo>
                        <a:pt x="351" y="0"/>
                      </a:lnTo>
                      <a:lnTo>
                        <a:pt x="0" y="0"/>
                      </a:lnTo>
                      <a:lnTo>
                        <a:pt x="0" y="33"/>
                      </a:lnTo>
                      <a:lnTo>
                        <a:pt x="368" y="33"/>
                      </a:lnTo>
                      <a:lnTo>
                        <a:pt x="368" y="0"/>
                      </a:lnTo>
                      <a:close/>
                    </a:path>
                  </a:pathLst>
                </a:custGeom>
                <a:solidFill>
                  <a:srgbClr val="FF67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3" name="ïŝliḍé">
                  <a:extLst>
                    <a:ext uri="{FF2B5EF4-FFF2-40B4-BE49-F238E27FC236}">
                      <a16:creationId xmlns:a16="http://schemas.microsoft.com/office/drawing/2014/main" id="{C0F4E7C6-65DE-400B-9B9B-2F319B8320DC}"/>
                    </a:ext>
                  </a:extLst>
                </p:cNvPr>
                <p:cNvSpPr/>
                <p:nvPr/>
              </p:nvSpPr>
              <p:spPr bwMode="auto">
                <a:xfrm>
                  <a:off x="5789620" y="2652706"/>
                  <a:ext cx="344299" cy="30875"/>
                </a:xfrm>
                <a:custGeom>
                  <a:avLst/>
                  <a:gdLst>
                    <a:gd name="T0" fmla="*/ 368 w 368"/>
                    <a:gd name="T1" fmla="*/ 0 h 33"/>
                    <a:gd name="T2" fmla="*/ 351 w 368"/>
                    <a:gd name="T3" fmla="*/ 0 h 33"/>
                    <a:gd name="T4" fmla="*/ 351 w 368"/>
                    <a:gd name="T5" fmla="*/ 0 h 33"/>
                    <a:gd name="T6" fmla="*/ 0 w 368"/>
                    <a:gd name="T7" fmla="*/ 0 h 33"/>
                    <a:gd name="T8" fmla="*/ 0 w 368"/>
                    <a:gd name="T9" fmla="*/ 33 h 33"/>
                    <a:gd name="T10" fmla="*/ 368 w 368"/>
                    <a:gd name="T11" fmla="*/ 33 h 33"/>
                    <a:gd name="T12" fmla="*/ 368 w 368"/>
                    <a:gd name="T13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8" h="33">
                      <a:moveTo>
                        <a:pt x="368" y="0"/>
                      </a:moveTo>
                      <a:lnTo>
                        <a:pt x="351" y="0"/>
                      </a:lnTo>
                      <a:lnTo>
                        <a:pt x="351" y="0"/>
                      </a:lnTo>
                      <a:lnTo>
                        <a:pt x="0" y="0"/>
                      </a:lnTo>
                      <a:lnTo>
                        <a:pt x="0" y="33"/>
                      </a:lnTo>
                      <a:lnTo>
                        <a:pt x="368" y="33"/>
                      </a:lnTo>
                      <a:lnTo>
                        <a:pt x="36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4" name="ïś1îďè">
                  <a:extLst>
                    <a:ext uri="{FF2B5EF4-FFF2-40B4-BE49-F238E27FC236}">
                      <a16:creationId xmlns:a16="http://schemas.microsoft.com/office/drawing/2014/main" id="{214DBD50-597B-4965-922F-282E6E691E21}"/>
                    </a:ext>
                  </a:extLst>
                </p:cNvPr>
                <p:cNvSpPr/>
                <p:nvPr/>
              </p:nvSpPr>
              <p:spPr bwMode="auto">
                <a:xfrm>
                  <a:off x="5476195" y="3133601"/>
                  <a:ext cx="91688" cy="710117"/>
                </a:xfrm>
                <a:custGeom>
                  <a:avLst/>
                  <a:gdLst>
                    <a:gd name="T0" fmla="*/ 98 w 98"/>
                    <a:gd name="T1" fmla="*/ 759 h 759"/>
                    <a:gd name="T2" fmla="*/ 0 w 98"/>
                    <a:gd name="T3" fmla="*/ 759 h 759"/>
                    <a:gd name="T4" fmla="*/ 0 w 98"/>
                    <a:gd name="T5" fmla="*/ 33 h 759"/>
                    <a:gd name="T6" fmla="*/ 98 w 98"/>
                    <a:gd name="T7" fmla="*/ 0 h 759"/>
                    <a:gd name="T8" fmla="*/ 98 w 98"/>
                    <a:gd name="T9" fmla="*/ 759 h 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8" h="759">
                      <a:moveTo>
                        <a:pt x="98" y="759"/>
                      </a:moveTo>
                      <a:lnTo>
                        <a:pt x="0" y="759"/>
                      </a:lnTo>
                      <a:lnTo>
                        <a:pt x="0" y="33"/>
                      </a:lnTo>
                      <a:lnTo>
                        <a:pt x="98" y="0"/>
                      </a:lnTo>
                      <a:lnTo>
                        <a:pt x="98" y="759"/>
                      </a:lnTo>
                      <a:close/>
                    </a:path>
                  </a:pathLst>
                </a:custGeom>
                <a:solidFill>
                  <a:srgbClr val="295A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5" name="îṧ1îḍè">
                  <a:extLst>
                    <a:ext uri="{FF2B5EF4-FFF2-40B4-BE49-F238E27FC236}">
                      <a16:creationId xmlns:a16="http://schemas.microsoft.com/office/drawing/2014/main" id="{4796EBC7-C94C-4DC5-8BAF-6D0E87C7AF64}"/>
                    </a:ext>
                  </a:extLst>
                </p:cNvPr>
                <p:cNvSpPr/>
                <p:nvPr/>
              </p:nvSpPr>
              <p:spPr bwMode="auto">
                <a:xfrm>
                  <a:off x="6011356" y="3133602"/>
                  <a:ext cx="91688" cy="710117"/>
                </a:xfrm>
                <a:custGeom>
                  <a:avLst/>
                  <a:gdLst>
                    <a:gd name="T0" fmla="*/ 0 w 98"/>
                    <a:gd name="T1" fmla="*/ 759 h 759"/>
                    <a:gd name="T2" fmla="*/ 98 w 98"/>
                    <a:gd name="T3" fmla="*/ 759 h 759"/>
                    <a:gd name="T4" fmla="*/ 98 w 98"/>
                    <a:gd name="T5" fmla="*/ 33 h 759"/>
                    <a:gd name="T6" fmla="*/ 0 w 98"/>
                    <a:gd name="T7" fmla="*/ 0 h 759"/>
                    <a:gd name="T8" fmla="*/ 0 w 98"/>
                    <a:gd name="T9" fmla="*/ 759 h 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8" h="759">
                      <a:moveTo>
                        <a:pt x="0" y="759"/>
                      </a:moveTo>
                      <a:lnTo>
                        <a:pt x="98" y="759"/>
                      </a:lnTo>
                      <a:lnTo>
                        <a:pt x="98" y="33"/>
                      </a:lnTo>
                      <a:lnTo>
                        <a:pt x="0" y="0"/>
                      </a:lnTo>
                      <a:lnTo>
                        <a:pt x="0" y="759"/>
                      </a:lnTo>
                      <a:close/>
                    </a:path>
                  </a:pathLst>
                </a:custGeom>
                <a:solidFill>
                  <a:srgbClr val="24518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6" name="ïŝḻïḑé">
                  <a:extLst>
                    <a:ext uri="{FF2B5EF4-FFF2-40B4-BE49-F238E27FC236}">
                      <a16:creationId xmlns:a16="http://schemas.microsoft.com/office/drawing/2014/main" id="{CCAFD947-F172-42CE-9492-60891F0DB3F5}"/>
                    </a:ext>
                  </a:extLst>
                </p:cNvPr>
                <p:cNvSpPr/>
                <p:nvPr/>
              </p:nvSpPr>
              <p:spPr bwMode="auto">
                <a:xfrm>
                  <a:off x="5422866" y="3577074"/>
                  <a:ext cx="740991" cy="305004"/>
                </a:xfrm>
                <a:prstGeom prst="rect">
                  <a:avLst/>
                </a:prstGeom>
                <a:solidFill>
                  <a:srgbClr val="295A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7" name="isḻïdé">
                  <a:extLst>
                    <a:ext uri="{FF2B5EF4-FFF2-40B4-BE49-F238E27FC236}">
                      <a16:creationId xmlns:a16="http://schemas.microsoft.com/office/drawing/2014/main" id="{F9C3FAE6-8C15-4735-942D-CAC3614E0A50}"/>
                    </a:ext>
                  </a:extLst>
                </p:cNvPr>
                <p:cNvSpPr/>
                <p:nvPr/>
              </p:nvSpPr>
              <p:spPr bwMode="auto">
                <a:xfrm>
                  <a:off x="5797104" y="3577074"/>
                  <a:ext cx="366753" cy="305004"/>
                </a:xfrm>
                <a:prstGeom prst="rect">
                  <a:avLst/>
                </a:prstGeom>
                <a:solidFill>
                  <a:srgbClr val="24518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8" name="ïS1îḋé">
                  <a:extLst>
                    <a:ext uri="{FF2B5EF4-FFF2-40B4-BE49-F238E27FC236}">
                      <a16:creationId xmlns:a16="http://schemas.microsoft.com/office/drawing/2014/main" id="{9468F1DD-9FF1-4A41-B2E9-45A504023D16}"/>
                    </a:ext>
                  </a:extLst>
                </p:cNvPr>
                <p:cNvSpPr/>
                <p:nvPr/>
              </p:nvSpPr>
              <p:spPr bwMode="auto">
                <a:xfrm>
                  <a:off x="5498650" y="3622918"/>
                  <a:ext cx="46780" cy="53329"/>
                </a:xfrm>
                <a:prstGeom prst="ellipse">
                  <a:avLst/>
                </a:prstGeom>
                <a:solidFill>
                  <a:srgbClr val="E8D7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9" name="î$ḷïḋe">
                  <a:extLst>
                    <a:ext uri="{FF2B5EF4-FFF2-40B4-BE49-F238E27FC236}">
                      <a16:creationId xmlns:a16="http://schemas.microsoft.com/office/drawing/2014/main" id="{C2C77E82-7BF3-4DCA-AEE9-82B1B4C02A91}"/>
                    </a:ext>
                  </a:extLst>
                </p:cNvPr>
                <p:cNvSpPr/>
                <p:nvPr/>
              </p:nvSpPr>
              <p:spPr bwMode="auto">
                <a:xfrm>
                  <a:off x="6042230" y="3622918"/>
                  <a:ext cx="45844" cy="53329"/>
                </a:xfrm>
                <a:prstGeom prst="ellipse">
                  <a:avLst/>
                </a:prstGeom>
                <a:solidFill>
                  <a:srgbClr val="DABC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0" name="iṡliḋe">
                  <a:extLst>
                    <a:ext uri="{FF2B5EF4-FFF2-40B4-BE49-F238E27FC236}">
                      <a16:creationId xmlns:a16="http://schemas.microsoft.com/office/drawing/2014/main" id="{6E8F86A8-1106-47A3-8A5F-42584EB562C1}"/>
                    </a:ext>
                  </a:extLst>
                </p:cNvPr>
                <p:cNvSpPr/>
                <p:nvPr/>
              </p:nvSpPr>
              <p:spPr bwMode="auto">
                <a:xfrm>
                  <a:off x="5591274" y="4272222"/>
                  <a:ext cx="405113" cy="236706"/>
                </a:xfrm>
                <a:custGeom>
                  <a:avLst/>
                  <a:gdLst>
                    <a:gd name="T0" fmla="*/ 53 w 53"/>
                    <a:gd name="T1" fmla="*/ 18 h 31"/>
                    <a:gd name="T2" fmla="*/ 53 w 53"/>
                    <a:gd name="T3" fmla="*/ 12 h 31"/>
                    <a:gd name="T4" fmla="*/ 49 w 53"/>
                    <a:gd name="T5" fmla="*/ 11 h 31"/>
                    <a:gd name="T6" fmla="*/ 50 w 53"/>
                    <a:gd name="T7" fmla="*/ 10 h 31"/>
                    <a:gd name="T8" fmla="*/ 43 w 53"/>
                    <a:gd name="T9" fmla="*/ 5 h 31"/>
                    <a:gd name="T10" fmla="*/ 41 w 53"/>
                    <a:gd name="T11" fmla="*/ 0 h 31"/>
                    <a:gd name="T12" fmla="*/ 19 w 53"/>
                    <a:gd name="T13" fmla="*/ 2 h 31"/>
                    <a:gd name="T14" fmla="*/ 12 w 53"/>
                    <a:gd name="T15" fmla="*/ 4 h 31"/>
                    <a:gd name="T16" fmla="*/ 4 w 53"/>
                    <a:gd name="T17" fmla="*/ 6 h 31"/>
                    <a:gd name="T18" fmla="*/ 0 w 53"/>
                    <a:gd name="T19" fmla="*/ 13 h 31"/>
                    <a:gd name="T20" fmla="*/ 0 w 53"/>
                    <a:gd name="T21" fmla="*/ 19 h 31"/>
                    <a:gd name="T22" fmla="*/ 2 w 53"/>
                    <a:gd name="T23" fmla="*/ 20 h 31"/>
                    <a:gd name="T24" fmla="*/ 2 w 53"/>
                    <a:gd name="T25" fmla="*/ 23 h 31"/>
                    <a:gd name="T26" fmla="*/ 4 w 53"/>
                    <a:gd name="T27" fmla="*/ 26 h 31"/>
                    <a:gd name="T28" fmla="*/ 9 w 53"/>
                    <a:gd name="T29" fmla="*/ 25 h 31"/>
                    <a:gd name="T30" fmla="*/ 10 w 53"/>
                    <a:gd name="T31" fmla="*/ 28 h 31"/>
                    <a:gd name="T32" fmla="*/ 14 w 53"/>
                    <a:gd name="T33" fmla="*/ 30 h 31"/>
                    <a:gd name="T34" fmla="*/ 18 w 53"/>
                    <a:gd name="T35" fmla="*/ 29 h 31"/>
                    <a:gd name="T36" fmla="*/ 22 w 53"/>
                    <a:gd name="T37" fmla="*/ 31 h 31"/>
                    <a:gd name="T38" fmla="*/ 29 w 53"/>
                    <a:gd name="T39" fmla="*/ 31 h 31"/>
                    <a:gd name="T40" fmla="*/ 31 w 53"/>
                    <a:gd name="T41" fmla="*/ 29 h 31"/>
                    <a:gd name="T42" fmla="*/ 36 w 53"/>
                    <a:gd name="T43" fmla="*/ 30 h 31"/>
                    <a:gd name="T44" fmla="*/ 42 w 53"/>
                    <a:gd name="T45" fmla="*/ 29 h 31"/>
                    <a:gd name="T46" fmla="*/ 43 w 53"/>
                    <a:gd name="T47" fmla="*/ 28 h 31"/>
                    <a:gd name="T48" fmla="*/ 43 w 53"/>
                    <a:gd name="T49" fmla="*/ 28 h 31"/>
                    <a:gd name="T50" fmla="*/ 45 w 53"/>
                    <a:gd name="T51" fmla="*/ 25 h 31"/>
                    <a:gd name="T52" fmla="*/ 49 w 53"/>
                    <a:gd name="T53" fmla="*/ 25 h 31"/>
                    <a:gd name="T54" fmla="*/ 51 w 53"/>
                    <a:gd name="T55" fmla="*/ 23 h 31"/>
                    <a:gd name="T56" fmla="*/ 51 w 53"/>
                    <a:gd name="T57" fmla="*/ 19 h 31"/>
                    <a:gd name="T58" fmla="*/ 53 w 53"/>
                    <a:gd name="T59" fmla="*/ 19 h 31"/>
                    <a:gd name="T60" fmla="*/ 38 w 53"/>
                    <a:gd name="T61" fmla="*/ 20 h 31"/>
                    <a:gd name="T62" fmla="*/ 13 w 53"/>
                    <a:gd name="T63" fmla="*/ 18 h 31"/>
                    <a:gd name="T64" fmla="*/ 27 w 53"/>
                    <a:gd name="T65" fmla="*/ 10 h 31"/>
                    <a:gd name="T66" fmla="*/ 38 w 53"/>
                    <a:gd name="T67" fmla="*/ 2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3" h="31">
                      <a:moveTo>
                        <a:pt x="53" y="19"/>
                      </a:moveTo>
                      <a:cubicBezTo>
                        <a:pt x="53" y="18"/>
                        <a:pt x="53" y="18"/>
                        <a:pt x="53" y="18"/>
                      </a:cubicBezTo>
                      <a:cubicBezTo>
                        <a:pt x="53" y="18"/>
                        <a:pt x="53" y="18"/>
                        <a:pt x="53" y="18"/>
                      </a:cubicBezTo>
                      <a:cubicBezTo>
                        <a:pt x="53" y="12"/>
                        <a:pt x="53" y="12"/>
                        <a:pt x="53" y="12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8" y="10"/>
                        <a:pt x="48" y="10"/>
                        <a:pt x="48" y="10"/>
                      </a:cubicBezTo>
                      <a:cubicBezTo>
                        <a:pt x="50" y="10"/>
                        <a:pt x="50" y="10"/>
                        <a:pt x="50" y="10"/>
                      </a:cubicBezTo>
                      <a:cubicBezTo>
                        <a:pt x="50" y="5"/>
                        <a:pt x="50" y="5"/>
                        <a:pt x="50" y="5"/>
                      </a:cubicBezTo>
                      <a:cubicBezTo>
                        <a:pt x="43" y="5"/>
                        <a:pt x="43" y="5"/>
                        <a:pt x="43" y="5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37" y="1"/>
                        <a:pt x="37" y="1"/>
                        <a:pt x="37" y="1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9" y="7"/>
                        <a:pt x="9" y="7"/>
                        <a:pt x="9" y="7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9"/>
                        <a:pt x="1" y="20"/>
                        <a:pt x="2" y="20"/>
                      </a:cubicBezTo>
                      <a:cubicBezTo>
                        <a:pt x="2" y="20"/>
                        <a:pt x="2" y="20"/>
                        <a:pt x="2" y="20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2" y="24"/>
                        <a:pt x="2" y="24"/>
                        <a:pt x="2" y="24"/>
                      </a:cubicBezTo>
                      <a:cubicBezTo>
                        <a:pt x="4" y="26"/>
                        <a:pt x="4" y="26"/>
                        <a:pt x="4" y="26"/>
                      </a:cubicBezTo>
                      <a:cubicBezTo>
                        <a:pt x="4" y="26"/>
                        <a:pt x="5" y="26"/>
                        <a:pt x="6" y="26"/>
                      </a:cubicBezTo>
                      <a:cubicBezTo>
                        <a:pt x="9" y="25"/>
                        <a:pt x="9" y="25"/>
                        <a:pt x="9" y="25"/>
                      </a:cubicBezTo>
                      <a:cubicBezTo>
                        <a:pt x="9" y="25"/>
                        <a:pt x="9" y="26"/>
                        <a:pt x="10" y="26"/>
                      </a:cubicBezTo>
                      <a:cubicBezTo>
                        <a:pt x="10" y="28"/>
                        <a:pt x="10" y="28"/>
                        <a:pt x="10" y="28"/>
                      </a:cubicBezTo>
                      <a:cubicBezTo>
                        <a:pt x="10" y="28"/>
                        <a:pt x="10" y="29"/>
                        <a:pt x="10" y="29"/>
                      </a:cubicBezTo>
                      <a:cubicBezTo>
                        <a:pt x="14" y="30"/>
                        <a:pt x="14" y="30"/>
                        <a:pt x="14" y="30"/>
                      </a:cubicBezTo>
                      <a:cubicBezTo>
                        <a:pt x="15" y="30"/>
                        <a:pt x="16" y="30"/>
                        <a:pt x="17" y="30"/>
                      </a:cubicBezTo>
                      <a:cubicBezTo>
                        <a:pt x="18" y="29"/>
                        <a:pt x="18" y="29"/>
                        <a:pt x="18" y="29"/>
                      </a:cubicBezTo>
                      <a:cubicBezTo>
                        <a:pt x="20" y="29"/>
                        <a:pt x="21" y="29"/>
                        <a:pt x="22" y="29"/>
                      </a:cubicBezTo>
                      <a:cubicBezTo>
                        <a:pt x="22" y="31"/>
                        <a:pt x="22" y="31"/>
                        <a:pt x="22" y="31"/>
                      </a:cubicBezTo>
                      <a:cubicBezTo>
                        <a:pt x="22" y="31"/>
                        <a:pt x="23" y="31"/>
                        <a:pt x="24" y="31"/>
                      </a:cubicBezTo>
                      <a:cubicBezTo>
                        <a:pt x="29" y="31"/>
                        <a:pt x="29" y="31"/>
                        <a:pt x="29" y="31"/>
                      </a:cubicBezTo>
                      <a:cubicBezTo>
                        <a:pt x="30" y="31"/>
                        <a:pt x="31" y="31"/>
                        <a:pt x="31" y="30"/>
                      </a:cubicBezTo>
                      <a:cubicBezTo>
                        <a:pt x="31" y="29"/>
                        <a:pt x="31" y="29"/>
                        <a:pt x="31" y="29"/>
                      </a:cubicBezTo>
                      <a:cubicBezTo>
                        <a:pt x="32" y="29"/>
                        <a:pt x="33" y="29"/>
                        <a:pt x="35" y="29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7" y="30"/>
                        <a:pt x="38" y="30"/>
                        <a:pt x="39" y="30"/>
                      </a:cubicBezTo>
                      <a:cubicBezTo>
                        <a:pt x="42" y="29"/>
                        <a:pt x="42" y="29"/>
                        <a:pt x="42" y="29"/>
                      </a:cubicBezTo>
                      <a:cubicBezTo>
                        <a:pt x="43" y="29"/>
                        <a:pt x="43" y="29"/>
                        <a:pt x="43" y="28"/>
                      </a:cubicBezTo>
                      <a:cubicBezTo>
                        <a:pt x="43" y="28"/>
                        <a:pt x="43" y="28"/>
                        <a:pt x="43" y="28"/>
                      </a:cubicBezTo>
                      <a:cubicBezTo>
                        <a:pt x="43" y="28"/>
                        <a:pt x="43" y="28"/>
                        <a:pt x="43" y="28"/>
                      </a:cubicBezTo>
                      <a:cubicBezTo>
                        <a:pt x="43" y="28"/>
                        <a:pt x="43" y="28"/>
                        <a:pt x="43" y="28"/>
                      </a:cubicBezTo>
                      <a:cubicBezTo>
                        <a:pt x="43" y="26"/>
                        <a:pt x="43" y="26"/>
                        <a:pt x="43" y="26"/>
                      </a:cubicBezTo>
                      <a:cubicBezTo>
                        <a:pt x="44" y="26"/>
                        <a:pt x="44" y="25"/>
                        <a:pt x="45" y="25"/>
                      </a:cubicBezTo>
                      <a:cubicBezTo>
                        <a:pt x="47" y="26"/>
                        <a:pt x="47" y="26"/>
                        <a:pt x="47" y="26"/>
                      </a:cubicBezTo>
                      <a:cubicBezTo>
                        <a:pt x="48" y="26"/>
                        <a:pt x="49" y="26"/>
                        <a:pt x="49" y="25"/>
                      </a:cubicBezTo>
                      <a:cubicBezTo>
                        <a:pt x="51" y="23"/>
                        <a:pt x="51" y="23"/>
                        <a:pt x="51" y="23"/>
                      </a:cubicBezTo>
                      <a:cubicBezTo>
                        <a:pt x="51" y="23"/>
                        <a:pt x="51" y="23"/>
                        <a:pt x="51" y="23"/>
                      </a:cubicBezTo>
                      <a:cubicBezTo>
                        <a:pt x="51" y="23"/>
                        <a:pt x="51" y="23"/>
                        <a:pt x="51" y="23"/>
                      </a:cubicBezTo>
                      <a:cubicBezTo>
                        <a:pt x="51" y="23"/>
                        <a:pt x="51" y="21"/>
                        <a:pt x="51" y="19"/>
                      </a:cubicBezTo>
                      <a:cubicBezTo>
                        <a:pt x="51" y="19"/>
                        <a:pt x="51" y="19"/>
                        <a:pt x="51" y="19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ubicBezTo>
                        <a:pt x="53" y="19"/>
                        <a:pt x="53" y="19"/>
                        <a:pt x="53" y="19"/>
                      </a:cubicBezTo>
                      <a:close/>
                      <a:moveTo>
                        <a:pt x="38" y="20"/>
                      </a:moveTo>
                      <a:cubicBezTo>
                        <a:pt x="36" y="22"/>
                        <a:pt x="32" y="21"/>
                        <a:pt x="27" y="21"/>
                      </a:cubicBezTo>
                      <a:cubicBezTo>
                        <a:pt x="19" y="21"/>
                        <a:pt x="13" y="22"/>
                        <a:pt x="13" y="18"/>
                      </a:cubicBezTo>
                      <a:cubicBezTo>
                        <a:pt x="13" y="16"/>
                        <a:pt x="14" y="15"/>
                        <a:pt x="16" y="14"/>
                      </a:cubicBezTo>
                      <a:cubicBezTo>
                        <a:pt x="18" y="12"/>
                        <a:pt x="22" y="11"/>
                        <a:pt x="27" y="10"/>
                      </a:cubicBezTo>
                      <a:cubicBezTo>
                        <a:pt x="34" y="10"/>
                        <a:pt x="40" y="14"/>
                        <a:pt x="40" y="18"/>
                      </a:cubicBezTo>
                      <a:cubicBezTo>
                        <a:pt x="40" y="19"/>
                        <a:pt x="40" y="19"/>
                        <a:pt x="38" y="20"/>
                      </a:cubicBezTo>
                      <a:close/>
                    </a:path>
                  </a:pathLst>
                </a:custGeom>
                <a:solidFill>
                  <a:srgbClr val="DEDE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1" name="îṧḷíďè">
                  <a:extLst>
                    <a:ext uri="{FF2B5EF4-FFF2-40B4-BE49-F238E27FC236}">
                      <a16:creationId xmlns:a16="http://schemas.microsoft.com/office/drawing/2014/main" id="{1C758CE4-2CDA-4049-9FE7-FD0632008280}"/>
                    </a:ext>
                  </a:extLst>
                </p:cNvPr>
                <p:cNvSpPr/>
                <p:nvPr/>
              </p:nvSpPr>
              <p:spPr bwMode="auto">
                <a:xfrm>
                  <a:off x="5591274" y="4248832"/>
                  <a:ext cx="405113" cy="214251"/>
                </a:xfrm>
                <a:custGeom>
                  <a:avLst/>
                  <a:gdLst>
                    <a:gd name="T0" fmla="*/ 53 w 53"/>
                    <a:gd name="T1" fmla="*/ 15 h 28"/>
                    <a:gd name="T2" fmla="*/ 49 w 53"/>
                    <a:gd name="T3" fmla="*/ 16 h 28"/>
                    <a:gd name="T4" fmla="*/ 50 w 53"/>
                    <a:gd name="T5" fmla="*/ 19 h 28"/>
                    <a:gd name="T6" fmla="*/ 49 w 53"/>
                    <a:gd name="T7" fmla="*/ 22 h 28"/>
                    <a:gd name="T8" fmla="*/ 45 w 53"/>
                    <a:gd name="T9" fmla="*/ 22 h 28"/>
                    <a:gd name="T10" fmla="*/ 43 w 53"/>
                    <a:gd name="T11" fmla="*/ 24 h 28"/>
                    <a:gd name="T12" fmla="*/ 39 w 53"/>
                    <a:gd name="T13" fmla="*/ 27 h 28"/>
                    <a:gd name="T14" fmla="*/ 35 w 53"/>
                    <a:gd name="T15" fmla="*/ 25 h 28"/>
                    <a:gd name="T16" fmla="*/ 31 w 53"/>
                    <a:gd name="T17" fmla="*/ 27 h 28"/>
                    <a:gd name="T18" fmla="*/ 24 w 53"/>
                    <a:gd name="T19" fmla="*/ 28 h 28"/>
                    <a:gd name="T20" fmla="*/ 22 w 53"/>
                    <a:gd name="T21" fmla="*/ 26 h 28"/>
                    <a:gd name="T22" fmla="*/ 17 w 53"/>
                    <a:gd name="T23" fmla="*/ 26 h 28"/>
                    <a:gd name="T24" fmla="*/ 10 w 53"/>
                    <a:gd name="T25" fmla="*/ 26 h 28"/>
                    <a:gd name="T26" fmla="*/ 11 w 53"/>
                    <a:gd name="T27" fmla="*/ 23 h 28"/>
                    <a:gd name="T28" fmla="*/ 6 w 53"/>
                    <a:gd name="T29" fmla="*/ 22 h 28"/>
                    <a:gd name="T30" fmla="*/ 2 w 53"/>
                    <a:gd name="T31" fmla="*/ 20 h 28"/>
                    <a:gd name="T32" fmla="*/ 5 w 53"/>
                    <a:gd name="T33" fmla="*/ 18 h 28"/>
                    <a:gd name="T34" fmla="*/ 2 w 53"/>
                    <a:gd name="T35" fmla="*/ 16 h 28"/>
                    <a:gd name="T36" fmla="*/ 1 w 53"/>
                    <a:gd name="T37" fmla="*/ 13 h 28"/>
                    <a:gd name="T38" fmla="*/ 5 w 53"/>
                    <a:gd name="T39" fmla="*/ 12 h 28"/>
                    <a:gd name="T40" fmla="*/ 4 w 53"/>
                    <a:gd name="T41" fmla="*/ 10 h 28"/>
                    <a:gd name="T42" fmla="*/ 6 w 53"/>
                    <a:gd name="T43" fmla="*/ 6 h 28"/>
                    <a:gd name="T44" fmla="*/ 10 w 53"/>
                    <a:gd name="T45" fmla="*/ 7 h 28"/>
                    <a:gd name="T46" fmla="*/ 12 w 53"/>
                    <a:gd name="T47" fmla="*/ 4 h 28"/>
                    <a:gd name="T48" fmla="*/ 17 w 53"/>
                    <a:gd name="T49" fmla="*/ 2 h 28"/>
                    <a:gd name="T50" fmla="*/ 20 w 53"/>
                    <a:gd name="T51" fmla="*/ 3 h 28"/>
                    <a:gd name="T52" fmla="*/ 23 w 53"/>
                    <a:gd name="T53" fmla="*/ 1 h 28"/>
                    <a:gd name="T54" fmla="*/ 29 w 53"/>
                    <a:gd name="T55" fmla="*/ 0 h 28"/>
                    <a:gd name="T56" fmla="*/ 30 w 53"/>
                    <a:gd name="T57" fmla="*/ 2 h 28"/>
                    <a:gd name="T58" fmla="*/ 35 w 53"/>
                    <a:gd name="T59" fmla="*/ 2 h 28"/>
                    <a:gd name="T60" fmla="*/ 41 w 53"/>
                    <a:gd name="T61" fmla="*/ 3 h 28"/>
                    <a:gd name="T62" fmla="*/ 40 w 53"/>
                    <a:gd name="T63" fmla="*/ 5 h 28"/>
                    <a:gd name="T64" fmla="*/ 45 w 53"/>
                    <a:gd name="T65" fmla="*/ 6 h 28"/>
                    <a:gd name="T66" fmla="*/ 49 w 53"/>
                    <a:gd name="T67" fmla="*/ 8 h 28"/>
                    <a:gd name="T68" fmla="*/ 47 w 53"/>
                    <a:gd name="T69" fmla="*/ 10 h 28"/>
                    <a:gd name="T70" fmla="*/ 51 w 53"/>
                    <a:gd name="T71" fmla="*/ 12 h 28"/>
                    <a:gd name="T72" fmla="*/ 38 w 53"/>
                    <a:gd name="T73" fmla="*/ 18 h 28"/>
                    <a:gd name="T74" fmla="*/ 27 w 53"/>
                    <a:gd name="T75" fmla="*/ 7 h 28"/>
                    <a:gd name="T76" fmla="*/ 13 w 53"/>
                    <a:gd name="T77" fmla="*/ 14 h 28"/>
                    <a:gd name="T78" fmla="*/ 38 w 53"/>
                    <a:gd name="T79" fmla="*/ 1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3" h="28">
                      <a:moveTo>
                        <a:pt x="52" y="13"/>
                      </a:moveTo>
                      <a:cubicBezTo>
                        <a:pt x="53" y="15"/>
                        <a:pt x="53" y="15"/>
                        <a:pt x="53" y="15"/>
                      </a:cubicBezTo>
                      <a:cubicBezTo>
                        <a:pt x="53" y="16"/>
                        <a:pt x="52" y="16"/>
                        <a:pt x="51" y="16"/>
                      </a:cubicBezTo>
                      <a:cubicBezTo>
                        <a:pt x="49" y="16"/>
                        <a:pt x="49" y="16"/>
                        <a:pt x="49" y="16"/>
                      </a:cubicBezTo>
                      <a:cubicBezTo>
                        <a:pt x="49" y="17"/>
                        <a:pt x="48" y="17"/>
                        <a:pt x="48" y="18"/>
                      </a:cubicBezTo>
                      <a:cubicBezTo>
                        <a:pt x="50" y="19"/>
                        <a:pt x="50" y="19"/>
                        <a:pt x="50" y="19"/>
                      </a:cubicBezTo>
                      <a:cubicBezTo>
                        <a:pt x="51" y="19"/>
                        <a:pt x="51" y="20"/>
                        <a:pt x="51" y="20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8" y="23"/>
                        <a:pt x="47" y="22"/>
                      </a:cubicBezTo>
                      <a:cubicBezTo>
                        <a:pt x="45" y="22"/>
                        <a:pt x="45" y="22"/>
                        <a:pt x="45" y="22"/>
                      </a:cubicBezTo>
                      <a:cubicBezTo>
                        <a:pt x="44" y="22"/>
                        <a:pt x="43" y="23"/>
                        <a:pt x="42" y="23"/>
                      </a:cubicBezTo>
                      <a:cubicBezTo>
                        <a:pt x="43" y="24"/>
                        <a:pt x="43" y="24"/>
                        <a:pt x="43" y="24"/>
                      </a:cubicBezTo>
                      <a:cubicBezTo>
                        <a:pt x="44" y="25"/>
                        <a:pt x="43" y="25"/>
                        <a:pt x="42" y="25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cubicBezTo>
                        <a:pt x="38" y="27"/>
                        <a:pt x="37" y="27"/>
                        <a:pt x="36" y="26"/>
                      </a:cubicBezTo>
                      <a:cubicBezTo>
                        <a:pt x="35" y="25"/>
                        <a:pt x="35" y="25"/>
                        <a:pt x="35" y="25"/>
                      </a:cubicBezTo>
                      <a:cubicBezTo>
                        <a:pt x="33" y="25"/>
                        <a:pt x="32" y="26"/>
                        <a:pt x="31" y="26"/>
                      </a:cubicBezTo>
                      <a:cubicBezTo>
                        <a:pt x="31" y="27"/>
                        <a:pt x="31" y="27"/>
                        <a:pt x="31" y="27"/>
                      </a:cubicBezTo>
                      <a:cubicBezTo>
                        <a:pt x="31" y="28"/>
                        <a:pt x="30" y="28"/>
                        <a:pt x="29" y="28"/>
                      </a:cubicBezTo>
                      <a:cubicBezTo>
                        <a:pt x="24" y="28"/>
                        <a:pt x="24" y="28"/>
                        <a:pt x="24" y="28"/>
                      </a:cubicBezTo>
                      <a:cubicBezTo>
                        <a:pt x="23" y="28"/>
                        <a:pt x="22" y="28"/>
                        <a:pt x="22" y="27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1" y="26"/>
                        <a:pt x="20" y="25"/>
                        <a:pt x="18" y="25"/>
                      </a:cubicBezTo>
                      <a:cubicBezTo>
                        <a:pt x="17" y="26"/>
                        <a:pt x="17" y="26"/>
                        <a:pt x="17" y="26"/>
                      </a:cubicBezTo>
                      <a:cubicBezTo>
                        <a:pt x="16" y="27"/>
                        <a:pt x="15" y="27"/>
                        <a:pt x="14" y="27"/>
                      </a:cubicBez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25"/>
                        <a:pt x="9" y="25"/>
                        <a:pt x="10" y="24"/>
                      </a:cubicBezTo>
                      <a:cubicBezTo>
                        <a:pt x="11" y="23"/>
                        <a:pt x="11" y="23"/>
                        <a:pt x="11" y="23"/>
                      </a:cubicBezTo>
                      <a:cubicBezTo>
                        <a:pt x="10" y="23"/>
                        <a:pt x="9" y="22"/>
                        <a:pt x="9" y="22"/>
                      </a:cubicBezTo>
                      <a:cubicBezTo>
                        <a:pt x="6" y="22"/>
                        <a:pt x="6" y="22"/>
                        <a:pt x="6" y="22"/>
                      </a:cubicBezTo>
                      <a:cubicBezTo>
                        <a:pt x="5" y="23"/>
                        <a:pt x="4" y="22"/>
                        <a:pt x="4" y="22"/>
                      </a:cubicBezTo>
                      <a:cubicBezTo>
                        <a:pt x="2" y="20"/>
                        <a:pt x="2" y="20"/>
                        <a:pt x="2" y="20"/>
                      </a:cubicBezTo>
                      <a:cubicBezTo>
                        <a:pt x="2" y="20"/>
                        <a:pt x="2" y="19"/>
                        <a:pt x="3" y="19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5" y="18"/>
                        <a:pt x="4" y="17"/>
                        <a:pt x="4" y="16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1" y="16"/>
                        <a:pt x="0" y="16"/>
                        <a:pt x="0" y="15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" y="13"/>
                        <a:pt x="2" y="12"/>
                        <a:pt x="3" y="12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2"/>
                        <a:pt x="6" y="11"/>
                        <a:pt x="6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4" y="9"/>
                        <a:pt x="4" y="9"/>
                        <a:pt x="4" y="8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7" y="6"/>
                        <a:pt x="8" y="6"/>
                        <a:pt x="9" y="6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11" y="6"/>
                        <a:pt x="12" y="6"/>
                        <a:pt x="13" y="5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12" y="4"/>
                        <a:pt x="12" y="3"/>
                        <a:pt x="13" y="3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8" y="2"/>
                        <a:pt x="19" y="2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1" y="3"/>
                        <a:pt x="22" y="3"/>
                        <a:pt x="23" y="3"/>
                      </a:cubicBezTo>
                      <a:cubicBezTo>
                        <a:pt x="23" y="1"/>
                        <a:pt x="23" y="1"/>
                        <a:pt x="23" y="1"/>
                      </a:cubicBezTo>
                      <a:cubicBezTo>
                        <a:pt x="23" y="1"/>
                        <a:pt x="24" y="0"/>
                        <a:pt x="25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30" y="0"/>
                        <a:pt x="30" y="1"/>
                        <a:pt x="30" y="1"/>
                      </a:cubicBezTo>
                      <a:cubicBezTo>
                        <a:pt x="30" y="2"/>
                        <a:pt x="30" y="2"/>
                        <a:pt x="30" y="2"/>
                      </a:cubicBezTo>
                      <a:cubicBezTo>
                        <a:pt x="32" y="3"/>
                        <a:pt x="33" y="3"/>
                        <a:pt x="34" y="3"/>
                      </a:cubicBezTo>
                      <a:cubicBezTo>
                        <a:pt x="35" y="2"/>
                        <a:pt x="35" y="2"/>
                        <a:pt x="35" y="2"/>
                      </a:cubicBezTo>
                      <a:cubicBezTo>
                        <a:pt x="35" y="1"/>
                        <a:pt x="36" y="1"/>
                        <a:pt x="37" y="1"/>
                      </a:cubicBezTo>
                      <a:cubicBezTo>
                        <a:pt x="41" y="3"/>
                        <a:pt x="41" y="3"/>
                        <a:pt x="41" y="3"/>
                      </a:cubicBezTo>
                      <a:cubicBezTo>
                        <a:pt x="41" y="3"/>
                        <a:pt x="42" y="3"/>
                        <a:pt x="41" y="4"/>
                      </a:cubicBezTo>
                      <a:cubicBezTo>
                        <a:pt x="40" y="5"/>
                        <a:pt x="40" y="5"/>
                        <a:pt x="40" y="5"/>
                      </a:cubicBezTo>
                      <a:cubicBezTo>
                        <a:pt x="41" y="5"/>
                        <a:pt x="42" y="6"/>
                        <a:pt x="43" y="6"/>
                      </a:cubicBezTo>
                      <a:cubicBezTo>
                        <a:pt x="45" y="6"/>
                        <a:pt x="45" y="6"/>
                        <a:pt x="45" y="6"/>
                      </a:cubicBezTo>
                      <a:cubicBezTo>
                        <a:pt x="46" y="5"/>
                        <a:pt x="47" y="6"/>
                        <a:pt x="47" y="6"/>
                      </a:cubicBezTo>
                      <a:cubicBezTo>
                        <a:pt x="49" y="8"/>
                        <a:pt x="49" y="8"/>
                        <a:pt x="49" y="8"/>
                      </a:cubicBezTo>
                      <a:cubicBezTo>
                        <a:pt x="50" y="8"/>
                        <a:pt x="50" y="9"/>
                        <a:pt x="49" y="9"/>
                      </a:cubicBezTo>
                      <a:cubicBezTo>
                        <a:pt x="47" y="10"/>
                        <a:pt x="47" y="10"/>
                        <a:pt x="47" y="10"/>
                      </a:cubicBezTo>
                      <a:cubicBezTo>
                        <a:pt x="48" y="10"/>
                        <a:pt x="48" y="11"/>
                        <a:pt x="48" y="12"/>
                      </a:cubicBezTo>
                      <a:cubicBezTo>
                        <a:pt x="51" y="12"/>
                        <a:pt x="51" y="12"/>
                        <a:pt x="51" y="12"/>
                      </a:cubicBezTo>
                      <a:cubicBezTo>
                        <a:pt x="52" y="12"/>
                        <a:pt x="52" y="12"/>
                        <a:pt x="52" y="13"/>
                      </a:cubicBezTo>
                      <a:close/>
                      <a:moveTo>
                        <a:pt x="38" y="18"/>
                      </a:moveTo>
                      <a:cubicBezTo>
                        <a:pt x="39" y="17"/>
                        <a:pt x="40" y="16"/>
                        <a:pt x="40" y="14"/>
                      </a:cubicBezTo>
                      <a:cubicBezTo>
                        <a:pt x="40" y="10"/>
                        <a:pt x="34" y="7"/>
                        <a:pt x="27" y="7"/>
                      </a:cubicBezTo>
                      <a:cubicBezTo>
                        <a:pt x="22" y="7"/>
                        <a:pt x="18" y="8"/>
                        <a:pt x="16" y="10"/>
                      </a:cubicBezTo>
                      <a:cubicBezTo>
                        <a:pt x="14" y="11"/>
                        <a:pt x="13" y="13"/>
                        <a:pt x="13" y="14"/>
                      </a:cubicBezTo>
                      <a:cubicBezTo>
                        <a:pt x="13" y="18"/>
                        <a:pt x="19" y="21"/>
                        <a:pt x="27" y="21"/>
                      </a:cubicBezTo>
                      <a:cubicBezTo>
                        <a:pt x="31" y="21"/>
                        <a:pt x="36" y="20"/>
                        <a:pt x="38" y="1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2" name="ïś1iḍê">
                  <a:extLst>
                    <a:ext uri="{FF2B5EF4-FFF2-40B4-BE49-F238E27FC236}">
                      <a16:creationId xmlns:a16="http://schemas.microsoft.com/office/drawing/2014/main" id="{E432FF96-7265-4164-89E1-6E9268A60635}"/>
                    </a:ext>
                  </a:extLst>
                </p:cNvPr>
                <p:cNvSpPr/>
                <p:nvPr/>
              </p:nvSpPr>
              <p:spPr bwMode="auto">
                <a:xfrm>
                  <a:off x="5720387" y="4272222"/>
                  <a:ext cx="145953" cy="91688"/>
                </a:xfrm>
                <a:custGeom>
                  <a:avLst/>
                  <a:gdLst>
                    <a:gd name="T0" fmla="*/ 19 w 19"/>
                    <a:gd name="T1" fmla="*/ 0 h 12"/>
                    <a:gd name="T2" fmla="*/ 0 w 19"/>
                    <a:gd name="T3" fmla="*/ 0 h 12"/>
                    <a:gd name="T4" fmla="*/ 0 w 19"/>
                    <a:gd name="T5" fmla="*/ 8 h 12"/>
                    <a:gd name="T6" fmla="*/ 0 w 19"/>
                    <a:gd name="T7" fmla="*/ 8 h 12"/>
                    <a:gd name="T8" fmla="*/ 9 w 19"/>
                    <a:gd name="T9" fmla="*/ 12 h 12"/>
                    <a:gd name="T10" fmla="*/ 17 w 19"/>
                    <a:gd name="T11" fmla="*/ 10 h 12"/>
                    <a:gd name="T12" fmla="*/ 18 w 19"/>
                    <a:gd name="T13" fmla="*/ 8 h 12"/>
                    <a:gd name="T14" fmla="*/ 19 w 19"/>
                    <a:gd name="T15" fmla="*/ 8 h 12"/>
                    <a:gd name="T16" fmla="*/ 19 w 19"/>
                    <a:gd name="T1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" h="12">
                      <a:moveTo>
                        <a:pt x="19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11"/>
                        <a:pt x="4" y="12"/>
                        <a:pt x="9" y="12"/>
                      </a:cubicBezTo>
                      <a:cubicBezTo>
                        <a:pt x="13" y="12"/>
                        <a:pt x="16" y="12"/>
                        <a:pt x="17" y="10"/>
                      </a:cubicBezTo>
                      <a:cubicBezTo>
                        <a:pt x="18" y="10"/>
                        <a:pt x="18" y="9"/>
                        <a:pt x="18" y="8"/>
                      </a:cubicBezTo>
                      <a:cubicBezTo>
                        <a:pt x="19" y="8"/>
                        <a:pt x="19" y="8"/>
                        <a:pt x="19" y="8"/>
                      </a:cubicBez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rgbClr val="DEDE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3" name="iŝ1îďe">
                  <a:extLst>
                    <a:ext uri="{FF2B5EF4-FFF2-40B4-BE49-F238E27FC236}">
                      <a16:creationId xmlns:a16="http://schemas.microsoft.com/office/drawing/2014/main" id="{B5CDCC37-E864-4E17-BC64-2832BDB41CC6}"/>
                    </a:ext>
                  </a:extLst>
                </p:cNvPr>
                <p:cNvSpPr/>
                <p:nvPr/>
              </p:nvSpPr>
              <p:spPr bwMode="auto">
                <a:xfrm>
                  <a:off x="5712902" y="4233863"/>
                  <a:ext cx="153438" cy="75783"/>
                </a:xfrm>
                <a:custGeom>
                  <a:avLst/>
                  <a:gdLst>
                    <a:gd name="T0" fmla="*/ 18 w 20"/>
                    <a:gd name="T1" fmla="*/ 8 h 10"/>
                    <a:gd name="T2" fmla="*/ 20 w 20"/>
                    <a:gd name="T3" fmla="*/ 5 h 10"/>
                    <a:gd name="T4" fmla="*/ 10 w 20"/>
                    <a:gd name="T5" fmla="*/ 0 h 10"/>
                    <a:gd name="T6" fmla="*/ 2 w 20"/>
                    <a:gd name="T7" fmla="*/ 2 h 10"/>
                    <a:gd name="T8" fmla="*/ 1 w 20"/>
                    <a:gd name="T9" fmla="*/ 5 h 10"/>
                    <a:gd name="T10" fmla="*/ 10 w 20"/>
                    <a:gd name="T11" fmla="*/ 10 h 10"/>
                    <a:gd name="T12" fmla="*/ 18 w 20"/>
                    <a:gd name="T13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10">
                      <a:moveTo>
                        <a:pt x="18" y="8"/>
                      </a:moveTo>
                      <a:cubicBezTo>
                        <a:pt x="19" y="7"/>
                        <a:pt x="20" y="6"/>
                        <a:pt x="20" y="5"/>
                      </a:cubicBezTo>
                      <a:cubicBezTo>
                        <a:pt x="19" y="2"/>
                        <a:pt x="15" y="0"/>
                        <a:pt x="10" y="0"/>
                      </a:cubicBezTo>
                      <a:cubicBezTo>
                        <a:pt x="7" y="0"/>
                        <a:pt x="4" y="1"/>
                        <a:pt x="2" y="2"/>
                      </a:cubicBezTo>
                      <a:cubicBezTo>
                        <a:pt x="1" y="3"/>
                        <a:pt x="1" y="4"/>
                        <a:pt x="1" y="5"/>
                      </a:cubicBezTo>
                      <a:cubicBezTo>
                        <a:pt x="0" y="8"/>
                        <a:pt x="5" y="10"/>
                        <a:pt x="10" y="10"/>
                      </a:cubicBezTo>
                      <a:cubicBezTo>
                        <a:pt x="14" y="10"/>
                        <a:pt x="17" y="9"/>
                        <a:pt x="18" y="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4" name="îslïḋè">
                  <a:extLst>
                    <a:ext uri="{FF2B5EF4-FFF2-40B4-BE49-F238E27FC236}">
                      <a16:creationId xmlns:a16="http://schemas.microsoft.com/office/drawing/2014/main" id="{1CBDD348-D3C2-4A7E-929E-DA6445E16C7C}"/>
                    </a:ext>
                  </a:extLst>
                </p:cNvPr>
                <p:cNvSpPr/>
                <p:nvPr/>
              </p:nvSpPr>
              <p:spPr bwMode="auto">
                <a:xfrm>
                  <a:off x="5422867" y="4103815"/>
                  <a:ext cx="351784" cy="320909"/>
                </a:xfrm>
                <a:custGeom>
                  <a:avLst/>
                  <a:gdLst>
                    <a:gd name="T0" fmla="*/ 15 w 46"/>
                    <a:gd name="T1" fmla="*/ 33 h 42"/>
                    <a:gd name="T2" fmla="*/ 39 w 46"/>
                    <a:gd name="T3" fmla="*/ 30 h 42"/>
                    <a:gd name="T4" fmla="*/ 23 w 46"/>
                    <a:gd name="T5" fmla="*/ 5 h 42"/>
                    <a:gd name="T6" fmla="*/ 15 w 46"/>
                    <a:gd name="T7" fmla="*/ 33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6" h="42">
                      <a:moveTo>
                        <a:pt x="15" y="33"/>
                      </a:moveTo>
                      <a:cubicBezTo>
                        <a:pt x="15" y="33"/>
                        <a:pt x="34" y="42"/>
                        <a:pt x="39" y="30"/>
                      </a:cubicBezTo>
                      <a:cubicBezTo>
                        <a:pt x="44" y="17"/>
                        <a:pt x="46" y="10"/>
                        <a:pt x="23" y="5"/>
                      </a:cubicBezTo>
                      <a:cubicBezTo>
                        <a:pt x="0" y="0"/>
                        <a:pt x="15" y="33"/>
                        <a:pt x="15" y="33"/>
                      </a:cubicBezTo>
                      <a:close/>
                    </a:path>
                  </a:pathLst>
                </a:custGeom>
                <a:solidFill>
                  <a:srgbClr val="E8D7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5" name="îṥľïḑé">
                  <a:extLst>
                    <a:ext uri="{FF2B5EF4-FFF2-40B4-BE49-F238E27FC236}">
                      <a16:creationId xmlns:a16="http://schemas.microsoft.com/office/drawing/2014/main" id="{C287EACC-A427-4B11-AECA-F322D9C6B831}"/>
                    </a:ext>
                  </a:extLst>
                </p:cNvPr>
                <p:cNvSpPr/>
                <p:nvPr/>
              </p:nvSpPr>
              <p:spPr bwMode="auto">
                <a:xfrm>
                  <a:off x="5093539" y="3630404"/>
                  <a:ext cx="459377" cy="733506"/>
                </a:xfrm>
                <a:custGeom>
                  <a:avLst/>
                  <a:gdLst>
                    <a:gd name="T0" fmla="*/ 60 w 60"/>
                    <a:gd name="T1" fmla="*/ 96 h 96"/>
                    <a:gd name="T2" fmla="*/ 27 w 60"/>
                    <a:gd name="T3" fmla="*/ 81 h 96"/>
                    <a:gd name="T4" fmla="*/ 0 w 60"/>
                    <a:gd name="T5" fmla="*/ 55 h 96"/>
                    <a:gd name="T6" fmla="*/ 6 w 60"/>
                    <a:gd name="T7" fmla="*/ 2 h 96"/>
                    <a:gd name="T8" fmla="*/ 37 w 60"/>
                    <a:gd name="T9" fmla="*/ 0 h 96"/>
                    <a:gd name="T10" fmla="*/ 27 w 60"/>
                    <a:gd name="T11" fmla="*/ 42 h 96"/>
                    <a:gd name="T12" fmla="*/ 56 w 60"/>
                    <a:gd name="T13" fmla="*/ 68 h 96"/>
                    <a:gd name="T14" fmla="*/ 60 w 60"/>
                    <a:gd name="T15" fmla="*/ 96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0" h="96">
                      <a:moveTo>
                        <a:pt x="60" y="96"/>
                      </a:moveTo>
                      <a:cubicBezTo>
                        <a:pt x="60" y="96"/>
                        <a:pt x="30" y="83"/>
                        <a:pt x="27" y="81"/>
                      </a:cubicBezTo>
                      <a:cubicBezTo>
                        <a:pt x="13" y="77"/>
                        <a:pt x="0" y="67"/>
                        <a:pt x="0" y="55"/>
                      </a:cubicBezTo>
                      <a:cubicBezTo>
                        <a:pt x="2" y="20"/>
                        <a:pt x="6" y="2"/>
                        <a:pt x="6" y="2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7" y="0"/>
                        <a:pt x="40" y="13"/>
                        <a:pt x="27" y="42"/>
                      </a:cubicBezTo>
                      <a:cubicBezTo>
                        <a:pt x="20" y="58"/>
                        <a:pt x="56" y="68"/>
                        <a:pt x="56" y="68"/>
                      </a:cubicBezTo>
                      <a:lnTo>
                        <a:pt x="60" y="96"/>
                      </a:lnTo>
                      <a:close/>
                    </a:path>
                  </a:pathLst>
                </a:custGeom>
                <a:solidFill>
                  <a:srgbClr val="E8D7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6" name="ïṣļîḍê">
                  <a:extLst>
                    <a:ext uri="{FF2B5EF4-FFF2-40B4-BE49-F238E27FC236}">
                      <a16:creationId xmlns:a16="http://schemas.microsoft.com/office/drawing/2014/main" id="{3111E017-48CA-4FF8-B5CC-27FB71775233}"/>
                    </a:ext>
                  </a:extLst>
                </p:cNvPr>
                <p:cNvSpPr/>
                <p:nvPr/>
              </p:nvSpPr>
              <p:spPr bwMode="auto">
                <a:xfrm>
                  <a:off x="5827981" y="4103815"/>
                  <a:ext cx="344299" cy="320909"/>
                </a:xfrm>
                <a:custGeom>
                  <a:avLst/>
                  <a:gdLst>
                    <a:gd name="T0" fmla="*/ 31 w 45"/>
                    <a:gd name="T1" fmla="*/ 33 h 42"/>
                    <a:gd name="T2" fmla="*/ 7 w 45"/>
                    <a:gd name="T3" fmla="*/ 30 h 42"/>
                    <a:gd name="T4" fmla="*/ 23 w 45"/>
                    <a:gd name="T5" fmla="*/ 5 h 42"/>
                    <a:gd name="T6" fmla="*/ 31 w 45"/>
                    <a:gd name="T7" fmla="*/ 33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5" h="42">
                      <a:moveTo>
                        <a:pt x="31" y="33"/>
                      </a:moveTo>
                      <a:cubicBezTo>
                        <a:pt x="31" y="33"/>
                        <a:pt x="12" y="42"/>
                        <a:pt x="7" y="30"/>
                      </a:cubicBezTo>
                      <a:cubicBezTo>
                        <a:pt x="2" y="17"/>
                        <a:pt x="0" y="10"/>
                        <a:pt x="23" y="5"/>
                      </a:cubicBezTo>
                      <a:cubicBezTo>
                        <a:pt x="45" y="0"/>
                        <a:pt x="31" y="33"/>
                        <a:pt x="31" y="33"/>
                      </a:cubicBezTo>
                      <a:close/>
                    </a:path>
                  </a:pathLst>
                </a:custGeom>
                <a:solidFill>
                  <a:srgbClr val="DABC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7" name="ïšḻiḍe">
                  <a:extLst>
                    <a:ext uri="{FF2B5EF4-FFF2-40B4-BE49-F238E27FC236}">
                      <a16:creationId xmlns:a16="http://schemas.microsoft.com/office/drawing/2014/main" id="{3BC12369-34F7-41F5-95C6-C85FF5EFDD79}"/>
                    </a:ext>
                  </a:extLst>
                </p:cNvPr>
                <p:cNvSpPr/>
                <p:nvPr/>
              </p:nvSpPr>
              <p:spPr bwMode="auto">
                <a:xfrm>
                  <a:off x="5116930" y="3652860"/>
                  <a:ext cx="252611" cy="153438"/>
                </a:xfrm>
                <a:custGeom>
                  <a:avLst/>
                  <a:gdLst>
                    <a:gd name="T0" fmla="*/ 29 w 33"/>
                    <a:gd name="T1" fmla="*/ 10 h 20"/>
                    <a:gd name="T2" fmla="*/ 31 w 33"/>
                    <a:gd name="T3" fmla="*/ 20 h 20"/>
                    <a:gd name="T4" fmla="*/ 33 w 33"/>
                    <a:gd name="T5" fmla="*/ 20 h 20"/>
                    <a:gd name="T6" fmla="*/ 33 w 33"/>
                    <a:gd name="T7" fmla="*/ 0 h 20"/>
                    <a:gd name="T8" fmla="*/ 1 w 33"/>
                    <a:gd name="T9" fmla="*/ 0 h 20"/>
                    <a:gd name="T10" fmla="*/ 0 w 33"/>
                    <a:gd name="T11" fmla="*/ 8 h 20"/>
                    <a:gd name="T12" fmla="*/ 0 w 33"/>
                    <a:gd name="T13" fmla="*/ 11 h 20"/>
                    <a:gd name="T14" fmla="*/ 30 w 33"/>
                    <a:gd name="T15" fmla="*/ 11 h 20"/>
                    <a:gd name="T16" fmla="*/ 29 w 33"/>
                    <a:gd name="T17" fmla="*/ 1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3" h="20">
                      <a:moveTo>
                        <a:pt x="29" y="10"/>
                      </a:moveTo>
                      <a:cubicBezTo>
                        <a:pt x="31" y="20"/>
                        <a:pt x="31" y="20"/>
                        <a:pt x="31" y="20"/>
                      </a:cubicBezTo>
                      <a:cubicBezTo>
                        <a:pt x="33" y="20"/>
                        <a:pt x="33" y="20"/>
                        <a:pt x="33" y="2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cubicBezTo>
                        <a:pt x="0" y="9"/>
                        <a:pt x="0" y="10"/>
                        <a:pt x="0" y="11"/>
                      </a:cubicBezTo>
                      <a:cubicBezTo>
                        <a:pt x="30" y="11"/>
                        <a:pt x="30" y="11"/>
                        <a:pt x="30" y="11"/>
                      </a:cubicBezTo>
                      <a:lnTo>
                        <a:pt x="29" y="10"/>
                      </a:lnTo>
                      <a:close/>
                    </a:path>
                  </a:pathLst>
                </a:custGeom>
                <a:solidFill>
                  <a:srgbClr val="EC9C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8" name="işļïḑê">
                  <a:extLst>
                    <a:ext uri="{FF2B5EF4-FFF2-40B4-BE49-F238E27FC236}">
                      <a16:creationId xmlns:a16="http://schemas.microsoft.com/office/drawing/2014/main" id="{74680C0D-A500-4B22-9C90-3DB9F673D592}"/>
                    </a:ext>
                  </a:extLst>
                </p:cNvPr>
                <p:cNvSpPr/>
                <p:nvPr/>
              </p:nvSpPr>
              <p:spPr bwMode="auto">
                <a:xfrm>
                  <a:off x="6202222" y="3652859"/>
                  <a:ext cx="260095" cy="153438"/>
                </a:xfrm>
                <a:custGeom>
                  <a:avLst/>
                  <a:gdLst>
                    <a:gd name="T0" fmla="*/ 34 w 34"/>
                    <a:gd name="T1" fmla="*/ 8 h 20"/>
                    <a:gd name="T2" fmla="*/ 33 w 34"/>
                    <a:gd name="T3" fmla="*/ 0 h 20"/>
                    <a:gd name="T4" fmla="*/ 0 w 34"/>
                    <a:gd name="T5" fmla="*/ 0 h 20"/>
                    <a:gd name="T6" fmla="*/ 1 w 34"/>
                    <a:gd name="T7" fmla="*/ 20 h 20"/>
                    <a:gd name="T8" fmla="*/ 4 w 34"/>
                    <a:gd name="T9" fmla="*/ 20 h 20"/>
                    <a:gd name="T10" fmla="*/ 6 w 34"/>
                    <a:gd name="T11" fmla="*/ 11 h 20"/>
                    <a:gd name="T12" fmla="*/ 34 w 34"/>
                    <a:gd name="T13" fmla="*/ 11 h 20"/>
                    <a:gd name="T14" fmla="*/ 34 w 34"/>
                    <a:gd name="T15" fmla="*/ 8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0">
                      <a:moveTo>
                        <a:pt x="34" y="8"/>
                      </a:moveTo>
                      <a:cubicBezTo>
                        <a:pt x="34" y="5"/>
                        <a:pt x="33" y="2"/>
                        <a:pt x="3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6" y="11"/>
                        <a:pt x="6" y="11"/>
                        <a:pt x="6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4" y="10"/>
                        <a:pt x="34" y="9"/>
                        <a:pt x="34" y="8"/>
                      </a:cubicBezTo>
                      <a:close/>
                    </a:path>
                  </a:pathLst>
                </a:custGeom>
                <a:solidFill>
                  <a:srgbClr val="FF87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4808315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12" name="Picture 3">
            <a:extLst>
              <a:ext uri="{FF2B5EF4-FFF2-40B4-BE49-F238E27FC236}">
                <a16:creationId xmlns:a16="http://schemas.microsoft.com/office/drawing/2014/main" id="{0B872857-B33A-4A2D-89CF-104F76E533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5" t="5975" r="8023" b="12774"/>
          <a:stretch/>
        </p:blipFill>
        <p:spPr>
          <a:xfrm>
            <a:off x="4063217" y="1481051"/>
            <a:ext cx="7607379" cy="4544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0700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2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5A1A2F5D-7EF2-4B73-85AB-9BF11B83F7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4107180"/>
          </a:xfrm>
          <a:prstGeom prst="rect">
            <a:avLst/>
          </a:prstGeom>
        </p:spPr>
      </p:pic>
      <p:sp>
        <p:nvSpPr>
          <p:cNvPr id="111" name="矩形: 单圆角 110">
            <a:extLst>
              <a:ext uri="{FF2B5EF4-FFF2-40B4-BE49-F238E27FC236}">
                <a16:creationId xmlns:a16="http://schemas.microsoft.com/office/drawing/2014/main" id="{EAF442DF-F7DD-4876-9392-D355326F67A6}"/>
              </a:ext>
            </a:extLst>
          </p:cNvPr>
          <p:cNvSpPr/>
          <p:nvPr userDrawn="1"/>
        </p:nvSpPr>
        <p:spPr>
          <a:xfrm flipH="1">
            <a:off x="1447800" y="1745269"/>
            <a:ext cx="10744200" cy="2899467"/>
          </a:xfrm>
          <a:prstGeom prst="round1Rect">
            <a:avLst>
              <a:gd name="adj" fmla="val 18817"/>
            </a:avLst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6503" y="2520083"/>
            <a:ext cx="9656072" cy="923330"/>
          </a:xfrm>
        </p:spPr>
        <p:txBody>
          <a:bodyPr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8F19B7F-65B9-4778-86D3-AB8EEFACE9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56503" y="3469812"/>
            <a:ext cx="9656072" cy="400110"/>
          </a:xfrm>
        </p:spPr>
        <p:txBody>
          <a:bodyPr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000" kern="1200" spc="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40D7A070-7AD3-46A0-AD41-94F48E4EE327}"/>
              </a:ext>
            </a:extLst>
          </p:cNvPr>
          <p:cNvSpPr/>
          <p:nvPr userDrawn="1"/>
        </p:nvSpPr>
        <p:spPr>
          <a:xfrm>
            <a:off x="1714500" y="2647696"/>
            <a:ext cx="45719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ABEFFFED-3586-4082-A56E-F78581DA1ACB}"/>
              </a:ext>
            </a:extLst>
          </p:cNvPr>
          <p:cNvSpPr/>
          <p:nvPr userDrawn="1"/>
        </p:nvSpPr>
        <p:spPr>
          <a:xfrm>
            <a:off x="1802130" y="2647696"/>
            <a:ext cx="18000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E5D5D201-24DF-473B-9E84-E4E6D020883A}"/>
              </a:ext>
            </a:extLst>
          </p:cNvPr>
          <p:cNvSpPr/>
          <p:nvPr userDrawn="1"/>
        </p:nvSpPr>
        <p:spPr>
          <a:xfrm>
            <a:off x="1447800" y="4494265"/>
            <a:ext cx="10744200" cy="15047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8" name="内容占位符 123">
            <a:extLst>
              <a:ext uri="{FF2B5EF4-FFF2-40B4-BE49-F238E27FC236}">
                <a16:creationId xmlns:a16="http://schemas.microsoft.com/office/drawing/2014/main" id="{E5CD59C7-0160-4320-B484-3740DF51282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73467" y="5372864"/>
            <a:ext cx="2719160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sp>
        <p:nvSpPr>
          <p:cNvPr id="119" name="内容占位符 4">
            <a:extLst>
              <a:ext uri="{FF2B5EF4-FFF2-40B4-BE49-F238E27FC236}">
                <a16:creationId xmlns:a16="http://schemas.microsoft.com/office/drawing/2014/main" id="{E2D6D34F-2210-476B-B52C-F483B17DBF5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056503" y="5372864"/>
            <a:ext cx="2393258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5E6DAAE7-9BC0-4DC7-8612-ED5BC1B56135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1" name="Freeform 5">
              <a:extLst>
                <a:ext uri="{FF2B5EF4-FFF2-40B4-BE49-F238E27FC236}">
                  <a16:creationId xmlns:a16="http://schemas.microsoft.com/office/drawing/2014/main" id="{9B0C5A24-C1C7-4929-83D1-9548E3C6FE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1B9B4665-2BEB-44D4-B798-A4B12B0D7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8">
              <a:extLst>
                <a:ext uri="{FF2B5EF4-FFF2-40B4-BE49-F238E27FC236}">
                  <a16:creationId xmlns:a16="http://schemas.microsoft.com/office/drawing/2014/main" id="{EBA15D70-2C5D-4DC6-9D04-C416CBBAF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3" name="组合 112">
              <a:extLst>
                <a:ext uri="{FF2B5EF4-FFF2-40B4-BE49-F238E27FC236}">
                  <a16:creationId xmlns:a16="http://schemas.microsoft.com/office/drawing/2014/main" id="{14592885-727D-43B3-BAD2-F13FC70B643D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0" name="Freeform 6">
                <a:extLst>
                  <a:ext uri="{FF2B5EF4-FFF2-40B4-BE49-F238E27FC236}">
                    <a16:creationId xmlns:a16="http://schemas.microsoft.com/office/drawing/2014/main" id="{4A3149BE-D4FD-4F80-8B56-9C5C912401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10">
                <a:extLst>
                  <a:ext uri="{FF2B5EF4-FFF2-40B4-BE49-F238E27FC236}">
                    <a16:creationId xmlns:a16="http://schemas.microsoft.com/office/drawing/2014/main" id="{E0D01AD4-8ECC-4CC7-B833-CE3562D79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3">
                <a:extLst>
                  <a:ext uri="{FF2B5EF4-FFF2-40B4-BE49-F238E27FC236}">
                    <a16:creationId xmlns:a16="http://schemas.microsoft.com/office/drawing/2014/main" id="{86895E5D-201D-4E04-8A3E-241CF19A80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7" name="组合 116">
              <a:extLst>
                <a:ext uri="{FF2B5EF4-FFF2-40B4-BE49-F238E27FC236}">
                  <a16:creationId xmlns:a16="http://schemas.microsoft.com/office/drawing/2014/main" id="{4F4046A9-73F0-48AA-B91A-E90CB1DC575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55" name="Freeform 9">
                <a:extLst>
                  <a:ext uri="{FF2B5EF4-FFF2-40B4-BE49-F238E27FC236}">
                    <a16:creationId xmlns:a16="http://schemas.microsoft.com/office/drawing/2014/main" id="{408A795B-82BD-4767-AEC0-1B9BBF7D1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1">
                <a:extLst>
                  <a:ext uri="{FF2B5EF4-FFF2-40B4-BE49-F238E27FC236}">
                    <a16:creationId xmlns:a16="http://schemas.microsoft.com/office/drawing/2014/main" id="{DC85FF5B-10EF-431F-8C01-5E8BE42C8C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2">
                <a:extLst>
                  <a:ext uri="{FF2B5EF4-FFF2-40B4-BE49-F238E27FC236}">
                    <a16:creationId xmlns:a16="http://schemas.microsoft.com/office/drawing/2014/main" id="{7BDCF635-6679-41EC-9E20-AE1493230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14">
                <a:extLst>
                  <a:ext uri="{FF2B5EF4-FFF2-40B4-BE49-F238E27FC236}">
                    <a16:creationId xmlns:a16="http://schemas.microsoft.com/office/drawing/2014/main" id="{A660E681-A866-4C98-97B3-9124F0F51D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5">
                <a:extLst>
                  <a:ext uri="{FF2B5EF4-FFF2-40B4-BE49-F238E27FC236}">
                    <a16:creationId xmlns:a16="http://schemas.microsoft.com/office/drawing/2014/main" id="{FFA351A2-53A4-4134-B440-C2D0DABE7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1" name="Freeform 16">
              <a:extLst>
                <a:ext uri="{FF2B5EF4-FFF2-40B4-BE49-F238E27FC236}">
                  <a16:creationId xmlns:a16="http://schemas.microsoft.com/office/drawing/2014/main" id="{166EDD9E-5ED9-46DA-926D-6869F962B1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7">
              <a:extLst>
                <a:ext uri="{FF2B5EF4-FFF2-40B4-BE49-F238E27FC236}">
                  <a16:creationId xmlns:a16="http://schemas.microsoft.com/office/drawing/2014/main" id="{A2EBA0BF-0676-4412-A3E2-A1A24FC988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18">
              <a:extLst>
                <a:ext uri="{FF2B5EF4-FFF2-40B4-BE49-F238E27FC236}">
                  <a16:creationId xmlns:a16="http://schemas.microsoft.com/office/drawing/2014/main" id="{0061F077-9689-4C88-832A-598BEEF963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9">
              <a:extLst>
                <a:ext uri="{FF2B5EF4-FFF2-40B4-BE49-F238E27FC236}">
                  <a16:creationId xmlns:a16="http://schemas.microsoft.com/office/drawing/2014/main" id="{24257F43-8216-4C99-95C2-CA1D808354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0">
              <a:extLst>
                <a:ext uri="{FF2B5EF4-FFF2-40B4-BE49-F238E27FC236}">
                  <a16:creationId xmlns:a16="http://schemas.microsoft.com/office/drawing/2014/main" id="{C00759F6-E333-44AE-8A72-DFD241D59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1">
              <a:extLst>
                <a:ext uri="{FF2B5EF4-FFF2-40B4-BE49-F238E27FC236}">
                  <a16:creationId xmlns:a16="http://schemas.microsoft.com/office/drawing/2014/main" id="{8CCB61FF-4163-444A-A976-54DBA7992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2">
              <a:extLst>
                <a:ext uri="{FF2B5EF4-FFF2-40B4-BE49-F238E27FC236}">
                  <a16:creationId xmlns:a16="http://schemas.microsoft.com/office/drawing/2014/main" id="{EE22FF1B-752F-4F5B-9544-8CD7A2121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3">
              <a:extLst>
                <a:ext uri="{FF2B5EF4-FFF2-40B4-BE49-F238E27FC236}">
                  <a16:creationId xmlns:a16="http://schemas.microsoft.com/office/drawing/2014/main" id="{699D2A56-77FC-439B-842D-9219CE13BD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4">
              <a:extLst>
                <a:ext uri="{FF2B5EF4-FFF2-40B4-BE49-F238E27FC236}">
                  <a16:creationId xmlns:a16="http://schemas.microsoft.com/office/drawing/2014/main" id="{F6263587-2C6F-43F1-9215-E1F5F2F6A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5">
              <a:extLst>
                <a:ext uri="{FF2B5EF4-FFF2-40B4-BE49-F238E27FC236}">
                  <a16:creationId xmlns:a16="http://schemas.microsoft.com/office/drawing/2014/main" id="{2506F165-8F8B-4D41-99AE-F020419EE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6">
              <a:extLst>
                <a:ext uri="{FF2B5EF4-FFF2-40B4-BE49-F238E27FC236}">
                  <a16:creationId xmlns:a16="http://schemas.microsoft.com/office/drawing/2014/main" id="{36F829C6-11BF-4C6B-BFC3-ED5A5259DC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7">
              <a:extLst>
                <a:ext uri="{FF2B5EF4-FFF2-40B4-BE49-F238E27FC236}">
                  <a16:creationId xmlns:a16="http://schemas.microsoft.com/office/drawing/2014/main" id="{48ED641E-032E-422D-BC0A-996FCF82B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8">
              <a:extLst>
                <a:ext uri="{FF2B5EF4-FFF2-40B4-BE49-F238E27FC236}">
                  <a16:creationId xmlns:a16="http://schemas.microsoft.com/office/drawing/2014/main" id="{5FEC25F1-928C-49A9-A776-026CD5BC99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9">
              <a:extLst>
                <a:ext uri="{FF2B5EF4-FFF2-40B4-BE49-F238E27FC236}">
                  <a16:creationId xmlns:a16="http://schemas.microsoft.com/office/drawing/2014/main" id="{AD1AEC5D-A212-4A6B-9FC8-E088C6301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0">
              <a:extLst>
                <a:ext uri="{FF2B5EF4-FFF2-40B4-BE49-F238E27FC236}">
                  <a16:creationId xmlns:a16="http://schemas.microsoft.com/office/drawing/2014/main" id="{95371D4B-725A-475B-8BDE-2FCA48A3D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1">
              <a:extLst>
                <a:ext uri="{FF2B5EF4-FFF2-40B4-BE49-F238E27FC236}">
                  <a16:creationId xmlns:a16="http://schemas.microsoft.com/office/drawing/2014/main" id="{1F5EE90C-6A54-4175-BE38-D0ADA3DB0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2">
              <a:extLst>
                <a:ext uri="{FF2B5EF4-FFF2-40B4-BE49-F238E27FC236}">
                  <a16:creationId xmlns:a16="http://schemas.microsoft.com/office/drawing/2014/main" id="{D7FE5FF0-99B5-4198-AD29-07793B09C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3">
              <a:extLst>
                <a:ext uri="{FF2B5EF4-FFF2-40B4-BE49-F238E27FC236}">
                  <a16:creationId xmlns:a16="http://schemas.microsoft.com/office/drawing/2014/main" id="{68B89323-2E7D-4709-822C-81698B342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4">
              <a:extLst>
                <a:ext uri="{FF2B5EF4-FFF2-40B4-BE49-F238E27FC236}">
                  <a16:creationId xmlns:a16="http://schemas.microsoft.com/office/drawing/2014/main" id="{F7F090DD-13BD-4FF7-94B9-183414BCB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5">
              <a:extLst>
                <a:ext uri="{FF2B5EF4-FFF2-40B4-BE49-F238E27FC236}">
                  <a16:creationId xmlns:a16="http://schemas.microsoft.com/office/drawing/2014/main" id="{1BAA5FE3-317A-47E5-B2D7-E0EBF0591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6">
              <a:extLst>
                <a:ext uri="{FF2B5EF4-FFF2-40B4-BE49-F238E27FC236}">
                  <a16:creationId xmlns:a16="http://schemas.microsoft.com/office/drawing/2014/main" id="{D27F6EDB-EF25-4D65-8F3B-D73DA485D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7">
              <a:extLst>
                <a:ext uri="{FF2B5EF4-FFF2-40B4-BE49-F238E27FC236}">
                  <a16:creationId xmlns:a16="http://schemas.microsoft.com/office/drawing/2014/main" id="{59AD3A7B-E428-44A5-A073-82A0944E5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8">
              <a:extLst>
                <a:ext uri="{FF2B5EF4-FFF2-40B4-BE49-F238E27FC236}">
                  <a16:creationId xmlns:a16="http://schemas.microsoft.com/office/drawing/2014/main" id="{221B5C6B-C717-4B46-A9AA-D3B96D6B4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9">
              <a:extLst>
                <a:ext uri="{FF2B5EF4-FFF2-40B4-BE49-F238E27FC236}">
                  <a16:creationId xmlns:a16="http://schemas.microsoft.com/office/drawing/2014/main" id="{D9820E02-3B23-499C-A183-F2B374F05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40">
              <a:extLst>
                <a:ext uri="{FF2B5EF4-FFF2-40B4-BE49-F238E27FC236}">
                  <a16:creationId xmlns:a16="http://schemas.microsoft.com/office/drawing/2014/main" id="{8DB8E78E-C965-47B1-8894-679F2C8C8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41">
              <a:extLst>
                <a:ext uri="{FF2B5EF4-FFF2-40B4-BE49-F238E27FC236}">
                  <a16:creationId xmlns:a16="http://schemas.microsoft.com/office/drawing/2014/main" id="{1B6B6184-73F5-4A67-8D20-D9945EBB2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42">
              <a:extLst>
                <a:ext uri="{FF2B5EF4-FFF2-40B4-BE49-F238E27FC236}">
                  <a16:creationId xmlns:a16="http://schemas.microsoft.com/office/drawing/2014/main" id="{3E016C33-CF61-4E36-8484-22E53562D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43">
              <a:extLst>
                <a:ext uri="{FF2B5EF4-FFF2-40B4-BE49-F238E27FC236}">
                  <a16:creationId xmlns:a16="http://schemas.microsoft.com/office/drawing/2014/main" id="{EEDA70E5-CD19-46AF-A9E3-F35FD16CC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44">
              <a:extLst>
                <a:ext uri="{FF2B5EF4-FFF2-40B4-BE49-F238E27FC236}">
                  <a16:creationId xmlns:a16="http://schemas.microsoft.com/office/drawing/2014/main" id="{42FA3887-E586-4042-AD9E-1BB1A47D64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45">
              <a:extLst>
                <a:ext uri="{FF2B5EF4-FFF2-40B4-BE49-F238E27FC236}">
                  <a16:creationId xmlns:a16="http://schemas.microsoft.com/office/drawing/2014/main" id="{82B09E17-ED29-4850-9FD6-329FF3549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6">
              <a:extLst>
                <a:ext uri="{FF2B5EF4-FFF2-40B4-BE49-F238E27FC236}">
                  <a16:creationId xmlns:a16="http://schemas.microsoft.com/office/drawing/2014/main" id="{1A922A67-F9B3-48F7-AD30-D4942C16C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7">
              <a:extLst>
                <a:ext uri="{FF2B5EF4-FFF2-40B4-BE49-F238E27FC236}">
                  <a16:creationId xmlns:a16="http://schemas.microsoft.com/office/drawing/2014/main" id="{5831008D-75E4-4DC9-BE81-31DC72C1D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8">
              <a:extLst>
                <a:ext uri="{FF2B5EF4-FFF2-40B4-BE49-F238E27FC236}">
                  <a16:creationId xmlns:a16="http://schemas.microsoft.com/office/drawing/2014/main" id="{338C26D0-4D66-4196-B534-62936D320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49">
              <a:extLst>
                <a:ext uri="{FF2B5EF4-FFF2-40B4-BE49-F238E27FC236}">
                  <a16:creationId xmlns:a16="http://schemas.microsoft.com/office/drawing/2014/main" id="{F71E6D41-48C5-4FC1-88E7-E815D160C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6EBE6528-4661-4C35-98DF-87E9CDDF9CF5}"/>
              </a:ext>
            </a:extLst>
          </p:cNvPr>
          <p:cNvCxnSpPr>
            <a:cxnSpLocks/>
          </p:cNvCxnSpPr>
          <p:nvPr userDrawn="1"/>
        </p:nvCxnSpPr>
        <p:spPr>
          <a:xfrm>
            <a:off x="4471557" y="5433940"/>
            <a:ext cx="0" cy="26785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80482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图片占位符 6">
            <a:extLst>
              <a:ext uri="{FF2B5EF4-FFF2-40B4-BE49-F238E27FC236}">
                <a16:creationId xmlns:a16="http://schemas.microsoft.com/office/drawing/2014/main" id="{756ADA68-F4E8-4B54-B88F-4359FF1AD6C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5937" y="1196975"/>
            <a:ext cx="11209217" cy="2452255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2443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7" name="图片占位符 156">
            <a:extLst>
              <a:ext uri="{FF2B5EF4-FFF2-40B4-BE49-F238E27FC236}">
                <a16:creationId xmlns:a16="http://schemas.microsoft.com/office/drawing/2014/main" id="{1122BB00-8520-4F7C-B385-7B6C1FD2725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67018" y="1196975"/>
            <a:ext cx="5045557" cy="4932363"/>
          </a:xfrm>
          <a:custGeom>
            <a:avLst/>
            <a:gdLst>
              <a:gd name="connsiteX0" fmla="*/ 0 w 5045557"/>
              <a:gd name="connsiteY0" fmla="*/ 0 h 4932363"/>
              <a:gd name="connsiteX1" fmla="*/ 5045557 w 5045557"/>
              <a:gd name="connsiteY1" fmla="*/ 0 h 4932363"/>
              <a:gd name="connsiteX2" fmla="*/ 5045557 w 5045557"/>
              <a:gd name="connsiteY2" fmla="*/ 4932363 h 4932363"/>
              <a:gd name="connsiteX3" fmla="*/ 0 w 5045557"/>
              <a:gd name="connsiteY3" fmla="*/ 4932363 h 4932363"/>
              <a:gd name="connsiteX4" fmla="*/ 0 w 5045557"/>
              <a:gd name="connsiteY4" fmla="*/ 4400043 h 4932363"/>
              <a:gd name="connsiteX5" fmla="*/ 52085 w 5045557"/>
              <a:gd name="connsiteY5" fmla="*/ 4397413 h 4932363"/>
              <a:gd name="connsiteX6" fmla="*/ 1794857 w 5045557"/>
              <a:gd name="connsiteY6" fmla="*/ 2466181 h 4932363"/>
              <a:gd name="connsiteX7" fmla="*/ 52085 w 5045557"/>
              <a:gd name="connsiteY7" fmla="*/ 534950 h 4932363"/>
              <a:gd name="connsiteX8" fmla="*/ 0 w 5045557"/>
              <a:gd name="connsiteY8" fmla="*/ 532320 h 4932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45557" h="4932363">
                <a:moveTo>
                  <a:pt x="0" y="0"/>
                </a:moveTo>
                <a:lnTo>
                  <a:pt x="5045557" y="0"/>
                </a:lnTo>
                <a:lnTo>
                  <a:pt x="5045557" y="4932363"/>
                </a:lnTo>
                <a:lnTo>
                  <a:pt x="0" y="4932363"/>
                </a:lnTo>
                <a:lnTo>
                  <a:pt x="0" y="4400043"/>
                </a:lnTo>
                <a:lnTo>
                  <a:pt x="52085" y="4397413"/>
                </a:lnTo>
                <a:cubicBezTo>
                  <a:pt x="1030974" y="4298001"/>
                  <a:pt x="1794857" y="3471298"/>
                  <a:pt x="1794857" y="2466181"/>
                </a:cubicBezTo>
                <a:cubicBezTo>
                  <a:pt x="1794857" y="1461064"/>
                  <a:pt x="1030974" y="634361"/>
                  <a:pt x="52085" y="534950"/>
                </a:cubicBezTo>
                <a:lnTo>
                  <a:pt x="0" y="53232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5" name="ïşḷîḓé">
            <a:extLst>
              <a:ext uri="{FF2B5EF4-FFF2-40B4-BE49-F238E27FC236}">
                <a16:creationId xmlns:a16="http://schemas.microsoft.com/office/drawing/2014/main" id="{40997A68-2C1D-4860-BA41-7A5C6E74BC9B}"/>
              </a:ext>
            </a:extLst>
          </p:cNvPr>
          <p:cNvSpPr/>
          <p:nvPr userDrawn="1"/>
        </p:nvSpPr>
        <p:spPr>
          <a:xfrm>
            <a:off x="4229746" y="1372281"/>
            <a:ext cx="4581751" cy="4581750"/>
          </a:xfrm>
          <a:prstGeom prst="ellipse">
            <a:avLst/>
          </a:prstGeom>
          <a:noFill/>
          <a:ln w="22225">
            <a:solidFill>
              <a:schemeClr val="bg1">
                <a:lumMod val="75000"/>
                <a:alpha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de-DE" sz="7196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6" name="ïś1ïḍè">
            <a:extLst>
              <a:ext uri="{FF2B5EF4-FFF2-40B4-BE49-F238E27FC236}">
                <a16:creationId xmlns:a16="http://schemas.microsoft.com/office/drawing/2014/main" id="{C6B4CC40-8ACC-44B2-A21C-A2F898B96C9B}"/>
              </a:ext>
            </a:extLst>
          </p:cNvPr>
          <p:cNvSpPr/>
          <p:nvPr userDrawn="1"/>
        </p:nvSpPr>
        <p:spPr>
          <a:xfrm>
            <a:off x="4579367" y="1721902"/>
            <a:ext cx="3882508" cy="3882508"/>
          </a:xfrm>
          <a:prstGeom prst="ellipse">
            <a:avLst/>
          </a:prstGeom>
          <a:solidFill>
            <a:schemeClr val="bg1"/>
          </a:solidFill>
          <a:ln w="12700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de-DE" sz="7196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117" name="组合 116">
            <a:extLst>
              <a:ext uri="{FF2B5EF4-FFF2-40B4-BE49-F238E27FC236}">
                <a16:creationId xmlns:a16="http://schemas.microsoft.com/office/drawing/2014/main" id="{C2FC0AB7-F3EC-4384-95AE-C5C290E37EC8}"/>
              </a:ext>
            </a:extLst>
          </p:cNvPr>
          <p:cNvGrpSpPr/>
          <p:nvPr userDrawn="1"/>
        </p:nvGrpSpPr>
        <p:grpSpPr>
          <a:xfrm>
            <a:off x="5597075" y="2276966"/>
            <a:ext cx="1847092" cy="2772380"/>
            <a:chOff x="7495980" y="2259422"/>
            <a:chExt cx="1847092" cy="2772380"/>
          </a:xfrm>
        </p:grpSpPr>
        <p:sp>
          <p:nvSpPr>
            <p:cNvPr id="118" name="iṧļîḓè">
              <a:extLst>
                <a:ext uri="{FF2B5EF4-FFF2-40B4-BE49-F238E27FC236}">
                  <a16:creationId xmlns:a16="http://schemas.microsoft.com/office/drawing/2014/main" id="{021B8BD8-E325-4CC0-AC4E-458E89B6803C}"/>
                </a:ext>
              </a:extLst>
            </p:cNvPr>
            <p:cNvSpPr/>
            <p:nvPr/>
          </p:nvSpPr>
          <p:spPr bwMode="auto">
            <a:xfrm>
              <a:off x="7495980" y="2259422"/>
              <a:ext cx="1847092" cy="277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19" name="isľïde">
              <a:extLst>
                <a:ext uri="{FF2B5EF4-FFF2-40B4-BE49-F238E27FC236}">
                  <a16:creationId xmlns:a16="http://schemas.microsoft.com/office/drawing/2014/main" id="{F5B5AFA2-C464-400E-9275-C99861C23310}"/>
                </a:ext>
              </a:extLst>
            </p:cNvPr>
            <p:cNvSpPr/>
            <p:nvPr/>
          </p:nvSpPr>
          <p:spPr bwMode="auto">
            <a:xfrm>
              <a:off x="8024119" y="2829366"/>
              <a:ext cx="202755" cy="487727"/>
            </a:xfrm>
            <a:custGeom>
              <a:avLst/>
              <a:gdLst>
                <a:gd name="T0" fmla="*/ 23 w 199"/>
                <a:gd name="T1" fmla="*/ 410 h 479"/>
                <a:gd name="T2" fmla="*/ 23 w 199"/>
                <a:gd name="T3" fmla="*/ 410 h 479"/>
                <a:gd name="T4" fmla="*/ 137 w 199"/>
                <a:gd name="T5" fmla="*/ 368 h 479"/>
                <a:gd name="T6" fmla="*/ 57 w 199"/>
                <a:gd name="T7" fmla="*/ 474 h 479"/>
                <a:gd name="T8" fmla="*/ 36 w 199"/>
                <a:gd name="T9" fmla="*/ 477 h 479"/>
                <a:gd name="T10" fmla="*/ 6 w 199"/>
                <a:gd name="T11" fmla="*/ 426 h 479"/>
                <a:gd name="T12" fmla="*/ 6 w 199"/>
                <a:gd name="T13" fmla="*/ 427 h 479"/>
                <a:gd name="T14" fmla="*/ 1 w 199"/>
                <a:gd name="T15" fmla="*/ 382 h 479"/>
                <a:gd name="T16" fmla="*/ 3 w 199"/>
                <a:gd name="T17" fmla="*/ 329 h 479"/>
                <a:gd name="T18" fmla="*/ 3 w 199"/>
                <a:gd name="T19" fmla="*/ 326 h 479"/>
                <a:gd name="T20" fmla="*/ 26 w 199"/>
                <a:gd name="T21" fmla="*/ 206 h 479"/>
                <a:gd name="T22" fmla="*/ 67 w 199"/>
                <a:gd name="T23" fmla="*/ 93 h 479"/>
                <a:gd name="T24" fmla="*/ 120 w 199"/>
                <a:gd name="T25" fmla="*/ 18 h 479"/>
                <a:gd name="T26" fmla="*/ 151 w 199"/>
                <a:gd name="T27" fmla="*/ 4 h 479"/>
                <a:gd name="T28" fmla="*/ 191 w 199"/>
                <a:gd name="T29" fmla="*/ 32 h 479"/>
                <a:gd name="T30" fmla="*/ 184 w 199"/>
                <a:gd name="T31" fmla="*/ 123 h 479"/>
                <a:gd name="T32" fmla="*/ 136 w 199"/>
                <a:gd name="T33" fmla="*/ 247 h 479"/>
                <a:gd name="T34" fmla="*/ 1 w 199"/>
                <a:gd name="T35" fmla="*/ 41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9" h="479">
                  <a:moveTo>
                    <a:pt x="23" y="410"/>
                  </a:moveTo>
                  <a:cubicBezTo>
                    <a:pt x="23" y="410"/>
                    <a:pt x="23" y="410"/>
                    <a:pt x="23" y="410"/>
                  </a:cubicBezTo>
                  <a:moveTo>
                    <a:pt x="137" y="368"/>
                  </a:moveTo>
                  <a:cubicBezTo>
                    <a:pt x="109" y="394"/>
                    <a:pt x="88" y="444"/>
                    <a:pt x="57" y="474"/>
                  </a:cubicBezTo>
                  <a:cubicBezTo>
                    <a:pt x="52" y="478"/>
                    <a:pt x="41" y="479"/>
                    <a:pt x="36" y="477"/>
                  </a:cubicBezTo>
                  <a:cubicBezTo>
                    <a:pt x="19" y="468"/>
                    <a:pt x="10" y="444"/>
                    <a:pt x="6" y="426"/>
                  </a:cubicBezTo>
                  <a:moveTo>
                    <a:pt x="6" y="427"/>
                  </a:moveTo>
                  <a:cubicBezTo>
                    <a:pt x="4" y="418"/>
                    <a:pt x="2" y="391"/>
                    <a:pt x="1" y="382"/>
                  </a:cubicBezTo>
                  <a:cubicBezTo>
                    <a:pt x="0" y="364"/>
                    <a:pt x="1" y="346"/>
                    <a:pt x="3" y="329"/>
                  </a:cubicBezTo>
                  <a:cubicBezTo>
                    <a:pt x="3" y="328"/>
                    <a:pt x="3" y="327"/>
                    <a:pt x="3" y="326"/>
                  </a:cubicBezTo>
                  <a:cubicBezTo>
                    <a:pt x="7" y="285"/>
                    <a:pt x="15" y="245"/>
                    <a:pt x="26" y="206"/>
                  </a:cubicBezTo>
                  <a:cubicBezTo>
                    <a:pt x="36" y="167"/>
                    <a:pt x="49" y="129"/>
                    <a:pt x="67" y="93"/>
                  </a:cubicBezTo>
                  <a:cubicBezTo>
                    <a:pt x="80" y="66"/>
                    <a:pt x="96" y="36"/>
                    <a:pt x="120" y="18"/>
                  </a:cubicBezTo>
                  <a:cubicBezTo>
                    <a:pt x="129" y="10"/>
                    <a:pt x="139" y="5"/>
                    <a:pt x="151" y="4"/>
                  </a:cubicBezTo>
                  <a:cubicBezTo>
                    <a:pt x="171" y="0"/>
                    <a:pt x="186" y="13"/>
                    <a:pt x="191" y="32"/>
                  </a:cubicBezTo>
                  <a:cubicBezTo>
                    <a:pt x="199" y="61"/>
                    <a:pt x="191" y="94"/>
                    <a:pt x="184" y="123"/>
                  </a:cubicBezTo>
                  <a:cubicBezTo>
                    <a:pt x="173" y="163"/>
                    <a:pt x="157" y="209"/>
                    <a:pt x="136" y="247"/>
                  </a:cubicBezTo>
                  <a:cubicBezTo>
                    <a:pt x="97" y="318"/>
                    <a:pt x="16" y="404"/>
                    <a:pt x="1" y="419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0" name="iṣļîḑê">
              <a:extLst>
                <a:ext uri="{FF2B5EF4-FFF2-40B4-BE49-F238E27FC236}">
                  <a16:creationId xmlns:a16="http://schemas.microsoft.com/office/drawing/2014/main" id="{90B0CDAB-3369-40AA-A607-F295BB9BA6E3}"/>
                </a:ext>
              </a:extLst>
            </p:cNvPr>
            <p:cNvSpPr/>
            <p:nvPr/>
          </p:nvSpPr>
          <p:spPr bwMode="auto">
            <a:xfrm>
              <a:off x="8138386" y="2889287"/>
              <a:ext cx="330261" cy="425716"/>
            </a:xfrm>
            <a:custGeom>
              <a:avLst/>
              <a:gdLst>
                <a:gd name="T0" fmla="*/ 184 w 324"/>
                <a:gd name="T1" fmla="*/ 334 h 418"/>
                <a:gd name="T2" fmla="*/ 159 w 324"/>
                <a:gd name="T3" fmla="*/ 363 h 418"/>
                <a:gd name="T4" fmla="*/ 102 w 324"/>
                <a:gd name="T5" fmla="*/ 402 h 418"/>
                <a:gd name="T6" fmla="*/ 34 w 324"/>
                <a:gd name="T7" fmla="*/ 407 h 418"/>
                <a:gd name="T8" fmla="*/ 21 w 324"/>
                <a:gd name="T9" fmla="*/ 316 h 418"/>
                <a:gd name="T10" fmla="*/ 69 w 324"/>
                <a:gd name="T11" fmla="*/ 250 h 418"/>
                <a:gd name="T12" fmla="*/ 122 w 324"/>
                <a:gd name="T13" fmla="*/ 209 h 418"/>
                <a:gd name="T14" fmla="*/ 198 w 324"/>
                <a:gd name="T15" fmla="*/ 188 h 418"/>
                <a:gd name="T16" fmla="*/ 240 w 324"/>
                <a:gd name="T17" fmla="*/ 199 h 418"/>
                <a:gd name="T18" fmla="*/ 314 w 324"/>
                <a:gd name="T19" fmla="*/ 0 h 418"/>
                <a:gd name="T20" fmla="*/ 319 w 324"/>
                <a:gd name="T21" fmla="*/ 12 h 418"/>
                <a:gd name="T22" fmla="*/ 230 w 324"/>
                <a:gd name="T23" fmla="*/ 220 h 418"/>
                <a:gd name="T24" fmla="*/ 213 w 324"/>
                <a:gd name="T25" fmla="*/ 260 h 418"/>
                <a:gd name="T26" fmla="*/ 198 w 324"/>
                <a:gd name="T27" fmla="*/ 294 h 418"/>
                <a:gd name="T28" fmla="*/ 180 w 324"/>
                <a:gd name="T29" fmla="*/ 346 h 418"/>
                <a:gd name="T30" fmla="*/ 176 w 324"/>
                <a:gd name="T31" fmla="*/ 376 h 418"/>
                <a:gd name="T32" fmla="*/ 180 w 324"/>
                <a:gd name="T33" fmla="*/ 393 h 418"/>
                <a:gd name="T34" fmla="*/ 215 w 324"/>
                <a:gd name="T35" fmla="*/ 377 h 418"/>
                <a:gd name="T36" fmla="*/ 259 w 324"/>
                <a:gd name="T37" fmla="*/ 330 h 418"/>
                <a:gd name="T38" fmla="*/ 288 w 324"/>
                <a:gd name="T39" fmla="*/ 294 h 418"/>
                <a:gd name="T40" fmla="*/ 324 w 324"/>
                <a:gd name="T41" fmla="*/ 25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4" h="418">
                  <a:moveTo>
                    <a:pt x="184" y="334"/>
                  </a:moveTo>
                  <a:cubicBezTo>
                    <a:pt x="183" y="336"/>
                    <a:pt x="170" y="350"/>
                    <a:pt x="159" y="363"/>
                  </a:cubicBezTo>
                  <a:cubicBezTo>
                    <a:pt x="143" y="381"/>
                    <a:pt x="123" y="391"/>
                    <a:pt x="102" y="402"/>
                  </a:cubicBezTo>
                  <a:cubicBezTo>
                    <a:pt x="83" y="411"/>
                    <a:pt x="55" y="418"/>
                    <a:pt x="34" y="407"/>
                  </a:cubicBezTo>
                  <a:cubicBezTo>
                    <a:pt x="0" y="391"/>
                    <a:pt x="9" y="344"/>
                    <a:pt x="21" y="316"/>
                  </a:cubicBezTo>
                  <a:cubicBezTo>
                    <a:pt x="33" y="292"/>
                    <a:pt x="50" y="270"/>
                    <a:pt x="69" y="250"/>
                  </a:cubicBezTo>
                  <a:cubicBezTo>
                    <a:pt x="84" y="234"/>
                    <a:pt x="102" y="219"/>
                    <a:pt x="122" y="209"/>
                  </a:cubicBezTo>
                  <a:cubicBezTo>
                    <a:pt x="145" y="196"/>
                    <a:pt x="171" y="187"/>
                    <a:pt x="198" y="188"/>
                  </a:cubicBezTo>
                  <a:cubicBezTo>
                    <a:pt x="202" y="188"/>
                    <a:pt x="230" y="187"/>
                    <a:pt x="240" y="199"/>
                  </a:cubicBezTo>
                  <a:moveTo>
                    <a:pt x="314" y="0"/>
                  </a:moveTo>
                  <a:cubicBezTo>
                    <a:pt x="319" y="2"/>
                    <a:pt x="322" y="7"/>
                    <a:pt x="319" y="12"/>
                  </a:cubicBezTo>
                  <a:cubicBezTo>
                    <a:pt x="291" y="82"/>
                    <a:pt x="262" y="152"/>
                    <a:pt x="230" y="220"/>
                  </a:cubicBezTo>
                  <a:cubicBezTo>
                    <a:pt x="213" y="260"/>
                    <a:pt x="213" y="260"/>
                    <a:pt x="213" y="260"/>
                  </a:cubicBezTo>
                  <a:cubicBezTo>
                    <a:pt x="198" y="294"/>
                    <a:pt x="198" y="294"/>
                    <a:pt x="198" y="294"/>
                  </a:cubicBezTo>
                  <a:cubicBezTo>
                    <a:pt x="191" y="311"/>
                    <a:pt x="185" y="329"/>
                    <a:pt x="180" y="346"/>
                  </a:cubicBezTo>
                  <a:cubicBezTo>
                    <a:pt x="178" y="356"/>
                    <a:pt x="176" y="366"/>
                    <a:pt x="176" y="376"/>
                  </a:cubicBezTo>
                  <a:cubicBezTo>
                    <a:pt x="176" y="382"/>
                    <a:pt x="176" y="389"/>
                    <a:pt x="180" y="393"/>
                  </a:cubicBezTo>
                  <a:cubicBezTo>
                    <a:pt x="191" y="403"/>
                    <a:pt x="209" y="383"/>
                    <a:pt x="215" y="377"/>
                  </a:cubicBezTo>
                  <a:cubicBezTo>
                    <a:pt x="231" y="363"/>
                    <a:pt x="245" y="347"/>
                    <a:pt x="259" y="330"/>
                  </a:cubicBezTo>
                  <a:cubicBezTo>
                    <a:pt x="288" y="294"/>
                    <a:pt x="288" y="294"/>
                    <a:pt x="288" y="294"/>
                  </a:cubicBezTo>
                  <a:cubicBezTo>
                    <a:pt x="295" y="287"/>
                    <a:pt x="312" y="263"/>
                    <a:pt x="324" y="251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1" name="iSḻïḑe">
              <a:extLst>
                <a:ext uri="{FF2B5EF4-FFF2-40B4-BE49-F238E27FC236}">
                  <a16:creationId xmlns:a16="http://schemas.microsoft.com/office/drawing/2014/main" id="{75E9DB39-9171-495F-B42C-C4484446C8D8}"/>
                </a:ext>
              </a:extLst>
            </p:cNvPr>
            <p:cNvSpPr/>
            <p:nvPr/>
          </p:nvSpPr>
          <p:spPr bwMode="auto">
            <a:xfrm>
              <a:off x="8431022" y="3074623"/>
              <a:ext cx="193697" cy="234109"/>
            </a:xfrm>
            <a:custGeom>
              <a:avLst/>
              <a:gdLst>
                <a:gd name="T0" fmla="*/ 190 w 190"/>
                <a:gd name="T1" fmla="*/ 139 h 230"/>
                <a:gd name="T2" fmla="*/ 179 w 190"/>
                <a:gd name="T3" fmla="*/ 150 h 230"/>
                <a:gd name="T4" fmla="*/ 144 w 190"/>
                <a:gd name="T5" fmla="*/ 186 h 230"/>
                <a:gd name="T6" fmla="*/ 47 w 190"/>
                <a:gd name="T7" fmla="*/ 226 h 230"/>
                <a:gd name="T8" fmla="*/ 8 w 190"/>
                <a:gd name="T9" fmla="*/ 199 h 230"/>
                <a:gd name="T10" fmla="*/ 7 w 190"/>
                <a:gd name="T11" fmla="*/ 138 h 230"/>
                <a:gd name="T12" fmla="*/ 70 w 190"/>
                <a:gd name="T13" fmla="*/ 29 h 230"/>
                <a:gd name="T14" fmla="*/ 116 w 190"/>
                <a:gd name="T15" fmla="*/ 3 h 230"/>
                <a:gd name="T16" fmla="*/ 163 w 190"/>
                <a:gd name="T17" fmla="*/ 24 h 230"/>
                <a:gd name="T18" fmla="*/ 122 w 190"/>
                <a:gd name="T19" fmla="*/ 93 h 230"/>
                <a:gd name="T20" fmla="*/ 64 w 190"/>
                <a:gd name="T21" fmla="*/ 119 h 230"/>
                <a:gd name="T22" fmla="*/ 44 w 190"/>
                <a:gd name="T23" fmla="*/ 125 h 230"/>
                <a:gd name="T24" fmla="*/ 9 w 190"/>
                <a:gd name="T25" fmla="*/ 1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0" h="230">
                  <a:moveTo>
                    <a:pt x="190" y="139"/>
                  </a:moveTo>
                  <a:cubicBezTo>
                    <a:pt x="179" y="150"/>
                    <a:pt x="179" y="150"/>
                    <a:pt x="179" y="150"/>
                  </a:cubicBezTo>
                  <a:cubicBezTo>
                    <a:pt x="168" y="163"/>
                    <a:pt x="157" y="174"/>
                    <a:pt x="144" y="186"/>
                  </a:cubicBezTo>
                  <a:cubicBezTo>
                    <a:pt x="117" y="208"/>
                    <a:pt x="83" y="230"/>
                    <a:pt x="47" y="226"/>
                  </a:cubicBezTo>
                  <a:cubicBezTo>
                    <a:pt x="30" y="224"/>
                    <a:pt x="15" y="215"/>
                    <a:pt x="8" y="199"/>
                  </a:cubicBezTo>
                  <a:cubicBezTo>
                    <a:pt x="0" y="180"/>
                    <a:pt x="2" y="158"/>
                    <a:pt x="7" y="138"/>
                  </a:cubicBezTo>
                  <a:cubicBezTo>
                    <a:pt x="16" y="97"/>
                    <a:pt x="39" y="57"/>
                    <a:pt x="70" y="29"/>
                  </a:cubicBezTo>
                  <a:cubicBezTo>
                    <a:pt x="83" y="17"/>
                    <a:pt x="99" y="6"/>
                    <a:pt x="116" y="3"/>
                  </a:cubicBezTo>
                  <a:cubicBezTo>
                    <a:pt x="135" y="0"/>
                    <a:pt x="157" y="4"/>
                    <a:pt x="163" y="24"/>
                  </a:cubicBezTo>
                  <a:cubicBezTo>
                    <a:pt x="171" y="53"/>
                    <a:pt x="144" y="79"/>
                    <a:pt x="122" y="93"/>
                  </a:cubicBezTo>
                  <a:cubicBezTo>
                    <a:pt x="104" y="105"/>
                    <a:pt x="84" y="113"/>
                    <a:pt x="64" y="119"/>
                  </a:cubicBezTo>
                  <a:cubicBezTo>
                    <a:pt x="57" y="122"/>
                    <a:pt x="51" y="124"/>
                    <a:pt x="44" y="125"/>
                  </a:cubicBezTo>
                  <a:cubicBezTo>
                    <a:pt x="9" y="130"/>
                    <a:pt x="9" y="130"/>
                    <a:pt x="9" y="130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2" name="ï$ḷiďé">
              <a:extLst>
                <a:ext uri="{FF2B5EF4-FFF2-40B4-BE49-F238E27FC236}">
                  <a16:creationId xmlns:a16="http://schemas.microsoft.com/office/drawing/2014/main" id="{119288C6-49E9-48D9-92F6-7FDBDB85FA64}"/>
                </a:ext>
              </a:extLst>
            </p:cNvPr>
            <p:cNvSpPr/>
            <p:nvPr/>
          </p:nvSpPr>
          <p:spPr bwMode="auto">
            <a:xfrm>
              <a:off x="8620539" y="3054417"/>
              <a:ext cx="238289" cy="243167"/>
            </a:xfrm>
            <a:custGeom>
              <a:avLst/>
              <a:gdLst>
                <a:gd name="T0" fmla="*/ 139 w 234"/>
                <a:gd name="T1" fmla="*/ 174 h 239"/>
                <a:gd name="T2" fmla="*/ 82 w 234"/>
                <a:gd name="T3" fmla="*/ 225 h 239"/>
                <a:gd name="T4" fmla="*/ 20 w 234"/>
                <a:gd name="T5" fmla="*/ 226 h 239"/>
                <a:gd name="T6" fmla="*/ 0 w 234"/>
                <a:gd name="T7" fmla="*/ 181 h 239"/>
                <a:gd name="T8" fmla="*/ 19 w 234"/>
                <a:gd name="T9" fmla="*/ 123 h 239"/>
                <a:gd name="T10" fmla="*/ 69 w 234"/>
                <a:gd name="T11" fmla="*/ 58 h 239"/>
                <a:gd name="T12" fmla="*/ 125 w 234"/>
                <a:gd name="T13" fmla="*/ 19 h 239"/>
                <a:gd name="T14" fmla="*/ 206 w 234"/>
                <a:gd name="T15" fmla="*/ 4 h 239"/>
                <a:gd name="T16" fmla="*/ 221 w 234"/>
                <a:gd name="T17" fmla="*/ 7 h 239"/>
                <a:gd name="T18" fmla="*/ 219 w 234"/>
                <a:gd name="T19" fmla="*/ 36 h 239"/>
                <a:gd name="T20" fmla="*/ 188 w 234"/>
                <a:gd name="T21" fmla="*/ 100 h 239"/>
                <a:gd name="T22" fmla="*/ 165 w 234"/>
                <a:gd name="T23" fmla="*/ 135 h 239"/>
                <a:gd name="T24" fmla="*/ 139 w 234"/>
                <a:gd name="T25" fmla="*/ 174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4" h="239">
                  <a:moveTo>
                    <a:pt x="139" y="174"/>
                  </a:moveTo>
                  <a:cubicBezTo>
                    <a:pt x="123" y="194"/>
                    <a:pt x="104" y="213"/>
                    <a:pt x="82" y="225"/>
                  </a:cubicBezTo>
                  <a:cubicBezTo>
                    <a:pt x="64" y="234"/>
                    <a:pt x="38" y="239"/>
                    <a:pt x="20" y="226"/>
                  </a:cubicBezTo>
                  <a:cubicBezTo>
                    <a:pt x="6" y="217"/>
                    <a:pt x="0" y="199"/>
                    <a:pt x="0" y="181"/>
                  </a:cubicBezTo>
                  <a:cubicBezTo>
                    <a:pt x="1" y="161"/>
                    <a:pt x="9" y="141"/>
                    <a:pt x="19" y="123"/>
                  </a:cubicBezTo>
                  <a:cubicBezTo>
                    <a:pt x="31" y="98"/>
                    <a:pt x="49" y="77"/>
                    <a:pt x="69" y="58"/>
                  </a:cubicBezTo>
                  <a:cubicBezTo>
                    <a:pt x="86" y="43"/>
                    <a:pt x="104" y="29"/>
                    <a:pt x="125" y="19"/>
                  </a:cubicBezTo>
                  <a:cubicBezTo>
                    <a:pt x="150" y="7"/>
                    <a:pt x="179" y="0"/>
                    <a:pt x="206" y="4"/>
                  </a:cubicBezTo>
                  <a:cubicBezTo>
                    <a:pt x="211" y="5"/>
                    <a:pt x="216" y="5"/>
                    <a:pt x="221" y="7"/>
                  </a:cubicBezTo>
                  <a:cubicBezTo>
                    <a:pt x="234" y="11"/>
                    <a:pt x="223" y="29"/>
                    <a:pt x="219" y="36"/>
                  </a:cubicBezTo>
                  <a:cubicBezTo>
                    <a:pt x="210" y="58"/>
                    <a:pt x="199" y="79"/>
                    <a:pt x="188" y="100"/>
                  </a:cubicBezTo>
                  <a:cubicBezTo>
                    <a:pt x="184" y="106"/>
                    <a:pt x="171" y="128"/>
                    <a:pt x="165" y="135"/>
                  </a:cubicBezTo>
                  <a:cubicBezTo>
                    <a:pt x="158" y="147"/>
                    <a:pt x="151" y="158"/>
                    <a:pt x="139" y="174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3" name="íŝ1ïḍè">
              <a:extLst>
                <a:ext uri="{FF2B5EF4-FFF2-40B4-BE49-F238E27FC236}">
                  <a16:creationId xmlns:a16="http://schemas.microsoft.com/office/drawing/2014/main" id="{9057C37D-DEAB-4B18-AE19-A0394554C18E}"/>
                </a:ext>
              </a:extLst>
            </p:cNvPr>
            <p:cNvSpPr/>
            <p:nvPr/>
          </p:nvSpPr>
          <p:spPr bwMode="auto">
            <a:xfrm>
              <a:off x="7504341" y="2266390"/>
              <a:ext cx="1831763" cy="2166902"/>
            </a:xfrm>
            <a:custGeom>
              <a:avLst/>
              <a:gdLst>
                <a:gd name="T0" fmla="*/ 1797 w 1797"/>
                <a:gd name="T1" fmla="*/ 898 h 2129"/>
                <a:gd name="T2" fmla="*/ 899 w 1797"/>
                <a:gd name="T3" fmla="*/ 0 h 2129"/>
                <a:gd name="T4" fmla="*/ 1 w 1797"/>
                <a:gd name="T5" fmla="*/ 896 h 2129"/>
                <a:gd name="T6" fmla="*/ 329 w 1797"/>
                <a:gd name="T7" fmla="*/ 1592 h 2129"/>
                <a:gd name="T8" fmla="*/ 329 w 1797"/>
                <a:gd name="T9" fmla="*/ 1592 h 2129"/>
                <a:gd name="T10" fmla="*/ 329 w 1797"/>
                <a:gd name="T11" fmla="*/ 1592 h 2129"/>
                <a:gd name="T12" fmla="*/ 373 w 1797"/>
                <a:gd name="T13" fmla="*/ 1627 h 2129"/>
                <a:gd name="T14" fmla="*/ 562 w 1797"/>
                <a:gd name="T15" fmla="*/ 1797 h 2129"/>
                <a:gd name="T16" fmla="*/ 651 w 1797"/>
                <a:gd name="T17" fmla="*/ 2110 h 2129"/>
                <a:gd name="T18" fmla="*/ 671 w 1797"/>
                <a:gd name="T19" fmla="*/ 2129 h 2129"/>
                <a:gd name="T20" fmla="*/ 899 w 1797"/>
                <a:gd name="T21" fmla="*/ 2129 h 2129"/>
                <a:gd name="T22" fmla="*/ 1129 w 1797"/>
                <a:gd name="T23" fmla="*/ 2129 h 2129"/>
                <a:gd name="T24" fmla="*/ 1147 w 1797"/>
                <a:gd name="T25" fmla="*/ 2113 h 2129"/>
                <a:gd name="T26" fmla="*/ 1236 w 1797"/>
                <a:gd name="T27" fmla="*/ 1797 h 2129"/>
                <a:gd name="T28" fmla="*/ 1425 w 1797"/>
                <a:gd name="T29" fmla="*/ 1627 h 2129"/>
                <a:gd name="T30" fmla="*/ 1469 w 1797"/>
                <a:gd name="T31" fmla="*/ 1592 h 2129"/>
                <a:gd name="T32" fmla="*/ 1469 w 1797"/>
                <a:gd name="T33" fmla="*/ 1592 h 2129"/>
                <a:gd name="T34" fmla="*/ 1469 w 1797"/>
                <a:gd name="T35" fmla="*/ 1592 h 2129"/>
                <a:gd name="T36" fmla="*/ 1797 w 1797"/>
                <a:gd name="T37" fmla="*/ 898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97" h="2129">
                  <a:moveTo>
                    <a:pt x="1797" y="898"/>
                  </a:moveTo>
                  <a:cubicBezTo>
                    <a:pt x="1797" y="402"/>
                    <a:pt x="1395" y="0"/>
                    <a:pt x="899" y="0"/>
                  </a:cubicBezTo>
                  <a:cubicBezTo>
                    <a:pt x="403" y="0"/>
                    <a:pt x="2" y="400"/>
                    <a:pt x="1" y="896"/>
                  </a:cubicBezTo>
                  <a:cubicBezTo>
                    <a:pt x="0" y="1177"/>
                    <a:pt x="128" y="1427"/>
                    <a:pt x="329" y="1592"/>
                  </a:cubicBezTo>
                  <a:cubicBezTo>
                    <a:pt x="329" y="1592"/>
                    <a:pt x="329" y="1592"/>
                    <a:pt x="329" y="1592"/>
                  </a:cubicBezTo>
                  <a:cubicBezTo>
                    <a:pt x="329" y="1592"/>
                    <a:pt x="329" y="1592"/>
                    <a:pt x="329" y="1592"/>
                  </a:cubicBezTo>
                  <a:cubicBezTo>
                    <a:pt x="343" y="1604"/>
                    <a:pt x="358" y="1616"/>
                    <a:pt x="373" y="1627"/>
                  </a:cubicBezTo>
                  <a:cubicBezTo>
                    <a:pt x="429" y="1671"/>
                    <a:pt x="521" y="1746"/>
                    <a:pt x="562" y="1797"/>
                  </a:cubicBezTo>
                  <a:cubicBezTo>
                    <a:pt x="616" y="1865"/>
                    <a:pt x="646" y="2034"/>
                    <a:pt x="651" y="2110"/>
                  </a:cubicBezTo>
                  <a:cubicBezTo>
                    <a:pt x="652" y="2121"/>
                    <a:pt x="660" y="2129"/>
                    <a:pt x="671" y="2129"/>
                  </a:cubicBezTo>
                  <a:cubicBezTo>
                    <a:pt x="899" y="2129"/>
                    <a:pt x="899" y="2129"/>
                    <a:pt x="899" y="2129"/>
                  </a:cubicBezTo>
                  <a:cubicBezTo>
                    <a:pt x="1129" y="2129"/>
                    <a:pt x="1129" y="2129"/>
                    <a:pt x="1129" y="2129"/>
                  </a:cubicBezTo>
                  <a:cubicBezTo>
                    <a:pt x="1139" y="2129"/>
                    <a:pt x="1146" y="2122"/>
                    <a:pt x="1147" y="2113"/>
                  </a:cubicBezTo>
                  <a:cubicBezTo>
                    <a:pt x="1151" y="2038"/>
                    <a:pt x="1181" y="1866"/>
                    <a:pt x="1236" y="1797"/>
                  </a:cubicBezTo>
                  <a:cubicBezTo>
                    <a:pt x="1277" y="1746"/>
                    <a:pt x="1369" y="1671"/>
                    <a:pt x="1425" y="1627"/>
                  </a:cubicBezTo>
                  <a:cubicBezTo>
                    <a:pt x="1440" y="1616"/>
                    <a:pt x="1455" y="1604"/>
                    <a:pt x="1469" y="1592"/>
                  </a:cubicBezTo>
                  <a:cubicBezTo>
                    <a:pt x="1469" y="1592"/>
                    <a:pt x="1469" y="1592"/>
                    <a:pt x="1469" y="1592"/>
                  </a:cubicBezTo>
                  <a:cubicBezTo>
                    <a:pt x="1469" y="1592"/>
                    <a:pt x="1469" y="1592"/>
                    <a:pt x="1469" y="1592"/>
                  </a:cubicBezTo>
                  <a:cubicBezTo>
                    <a:pt x="1670" y="1428"/>
                    <a:pt x="1797" y="1178"/>
                    <a:pt x="1797" y="898"/>
                  </a:cubicBezTo>
                  <a:close/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4" name="îṡ1ídé">
              <a:extLst>
                <a:ext uri="{FF2B5EF4-FFF2-40B4-BE49-F238E27FC236}">
                  <a16:creationId xmlns:a16="http://schemas.microsoft.com/office/drawing/2014/main" id="{F6C58C94-5A26-454E-8665-18AB682E8237}"/>
                </a:ext>
              </a:extLst>
            </p:cNvPr>
            <p:cNvSpPr/>
            <p:nvPr/>
          </p:nvSpPr>
          <p:spPr bwMode="auto">
            <a:xfrm>
              <a:off x="7721031" y="3074623"/>
              <a:ext cx="622200" cy="1353791"/>
            </a:xfrm>
            <a:custGeom>
              <a:avLst/>
              <a:gdLst>
                <a:gd name="T0" fmla="*/ 610 w 610"/>
                <a:gd name="T1" fmla="*/ 1330 h 1330"/>
                <a:gd name="T2" fmla="*/ 497 w 610"/>
                <a:gd name="T3" fmla="*/ 768 h 1330"/>
                <a:gd name="T4" fmla="*/ 350 w 610"/>
                <a:gd name="T5" fmla="*/ 572 h 1330"/>
                <a:gd name="T6" fmla="*/ 221 w 610"/>
                <a:gd name="T7" fmla="*/ 496 h 1330"/>
                <a:gd name="T8" fmla="*/ 189 w 610"/>
                <a:gd name="T9" fmla="*/ 377 h 1330"/>
                <a:gd name="T10" fmla="*/ 175 w 610"/>
                <a:gd name="T11" fmla="*/ 170 h 1330"/>
                <a:gd name="T12" fmla="*/ 148 w 610"/>
                <a:gd name="T13" fmla="*/ 56 h 1330"/>
                <a:gd name="T14" fmla="*/ 47 w 610"/>
                <a:gd name="T15" fmla="*/ 17 h 1330"/>
                <a:gd name="T16" fmla="*/ 11 w 610"/>
                <a:gd name="T17" fmla="*/ 137 h 1330"/>
                <a:gd name="T18" fmla="*/ 86 w 610"/>
                <a:gd name="T19" fmla="*/ 246 h 1330"/>
                <a:gd name="T20" fmla="*/ 305 w 610"/>
                <a:gd name="T21" fmla="*/ 171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0" h="1330">
                  <a:moveTo>
                    <a:pt x="610" y="1330"/>
                  </a:moveTo>
                  <a:cubicBezTo>
                    <a:pt x="609" y="1138"/>
                    <a:pt x="571" y="945"/>
                    <a:pt x="497" y="768"/>
                  </a:cubicBezTo>
                  <a:cubicBezTo>
                    <a:pt x="465" y="691"/>
                    <a:pt x="422" y="613"/>
                    <a:pt x="350" y="572"/>
                  </a:cubicBezTo>
                  <a:cubicBezTo>
                    <a:pt x="306" y="547"/>
                    <a:pt x="252" y="535"/>
                    <a:pt x="221" y="496"/>
                  </a:cubicBezTo>
                  <a:cubicBezTo>
                    <a:pt x="196" y="463"/>
                    <a:pt x="192" y="419"/>
                    <a:pt x="189" y="377"/>
                  </a:cubicBezTo>
                  <a:cubicBezTo>
                    <a:pt x="184" y="308"/>
                    <a:pt x="180" y="239"/>
                    <a:pt x="175" y="170"/>
                  </a:cubicBezTo>
                  <a:cubicBezTo>
                    <a:pt x="172" y="131"/>
                    <a:pt x="169" y="90"/>
                    <a:pt x="148" y="56"/>
                  </a:cubicBezTo>
                  <a:cubicBezTo>
                    <a:pt x="127" y="23"/>
                    <a:pt x="83" y="0"/>
                    <a:pt x="47" y="17"/>
                  </a:cubicBezTo>
                  <a:cubicBezTo>
                    <a:pt x="6" y="36"/>
                    <a:pt x="0" y="93"/>
                    <a:pt x="11" y="137"/>
                  </a:cubicBezTo>
                  <a:cubicBezTo>
                    <a:pt x="21" y="181"/>
                    <a:pt x="45" y="225"/>
                    <a:pt x="86" y="246"/>
                  </a:cubicBezTo>
                  <a:cubicBezTo>
                    <a:pt x="135" y="272"/>
                    <a:pt x="196" y="271"/>
                    <a:pt x="305" y="171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5" name="îşḻîḑe">
              <a:extLst>
                <a:ext uri="{FF2B5EF4-FFF2-40B4-BE49-F238E27FC236}">
                  <a16:creationId xmlns:a16="http://schemas.microsoft.com/office/drawing/2014/main" id="{4A8F243B-F27E-43C6-91F7-567A473CDA64}"/>
                </a:ext>
              </a:extLst>
            </p:cNvPr>
            <p:cNvSpPr/>
            <p:nvPr/>
          </p:nvSpPr>
          <p:spPr bwMode="auto">
            <a:xfrm>
              <a:off x="8464467" y="3067655"/>
              <a:ext cx="621504" cy="1360759"/>
            </a:xfrm>
            <a:custGeom>
              <a:avLst/>
              <a:gdLst>
                <a:gd name="T0" fmla="*/ 0 w 610"/>
                <a:gd name="T1" fmla="*/ 1337 h 1337"/>
                <a:gd name="T2" fmla="*/ 113 w 610"/>
                <a:gd name="T3" fmla="*/ 768 h 1337"/>
                <a:gd name="T4" fmla="*/ 260 w 610"/>
                <a:gd name="T5" fmla="*/ 572 h 1337"/>
                <a:gd name="T6" fmla="*/ 388 w 610"/>
                <a:gd name="T7" fmla="*/ 496 h 1337"/>
                <a:gd name="T8" fmla="*/ 421 w 610"/>
                <a:gd name="T9" fmla="*/ 377 h 1337"/>
                <a:gd name="T10" fmla="*/ 426 w 610"/>
                <a:gd name="T11" fmla="*/ 169 h 1337"/>
                <a:gd name="T12" fmla="*/ 464 w 610"/>
                <a:gd name="T13" fmla="*/ 53 h 1337"/>
                <a:gd name="T14" fmla="*/ 562 w 610"/>
                <a:gd name="T15" fmla="*/ 17 h 1337"/>
                <a:gd name="T16" fmla="*/ 599 w 610"/>
                <a:gd name="T17" fmla="*/ 137 h 1337"/>
                <a:gd name="T18" fmla="*/ 518 w 610"/>
                <a:gd name="T19" fmla="*/ 242 h 1337"/>
                <a:gd name="T20" fmla="*/ 335 w 610"/>
                <a:gd name="T21" fmla="*/ 232 h 1337"/>
                <a:gd name="T22" fmla="*/ 354 w 610"/>
                <a:gd name="T23" fmla="*/ 61 h 1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0" h="1337">
                  <a:moveTo>
                    <a:pt x="0" y="1337"/>
                  </a:moveTo>
                  <a:cubicBezTo>
                    <a:pt x="0" y="1145"/>
                    <a:pt x="39" y="945"/>
                    <a:pt x="113" y="768"/>
                  </a:cubicBezTo>
                  <a:cubicBezTo>
                    <a:pt x="145" y="691"/>
                    <a:pt x="187" y="613"/>
                    <a:pt x="260" y="572"/>
                  </a:cubicBezTo>
                  <a:cubicBezTo>
                    <a:pt x="303" y="547"/>
                    <a:pt x="357" y="535"/>
                    <a:pt x="388" y="496"/>
                  </a:cubicBezTo>
                  <a:cubicBezTo>
                    <a:pt x="414" y="463"/>
                    <a:pt x="418" y="419"/>
                    <a:pt x="421" y="377"/>
                  </a:cubicBezTo>
                  <a:cubicBezTo>
                    <a:pt x="425" y="308"/>
                    <a:pt x="421" y="238"/>
                    <a:pt x="426" y="169"/>
                  </a:cubicBezTo>
                  <a:cubicBezTo>
                    <a:pt x="429" y="129"/>
                    <a:pt x="443" y="86"/>
                    <a:pt x="464" y="53"/>
                  </a:cubicBezTo>
                  <a:cubicBezTo>
                    <a:pt x="484" y="19"/>
                    <a:pt x="527" y="0"/>
                    <a:pt x="562" y="17"/>
                  </a:cubicBezTo>
                  <a:cubicBezTo>
                    <a:pt x="603" y="36"/>
                    <a:pt x="610" y="93"/>
                    <a:pt x="599" y="137"/>
                  </a:cubicBezTo>
                  <a:cubicBezTo>
                    <a:pt x="589" y="181"/>
                    <a:pt x="555" y="215"/>
                    <a:pt x="518" y="242"/>
                  </a:cubicBezTo>
                  <a:cubicBezTo>
                    <a:pt x="472" y="275"/>
                    <a:pt x="371" y="291"/>
                    <a:pt x="335" y="232"/>
                  </a:cubicBezTo>
                  <a:cubicBezTo>
                    <a:pt x="318" y="205"/>
                    <a:pt x="320" y="134"/>
                    <a:pt x="354" y="61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6" name="isḷiḓè">
              <a:extLst>
                <a:ext uri="{FF2B5EF4-FFF2-40B4-BE49-F238E27FC236}">
                  <a16:creationId xmlns:a16="http://schemas.microsoft.com/office/drawing/2014/main" id="{7F74E9D7-05AB-4481-825B-C49DD5496D9E}"/>
                </a:ext>
              </a:extLst>
            </p:cNvPr>
            <p:cNvSpPr/>
            <p:nvPr/>
          </p:nvSpPr>
          <p:spPr bwMode="auto">
            <a:xfrm>
              <a:off x="8172527" y="4428414"/>
              <a:ext cx="492604" cy="28497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7" name="îślíďè">
              <a:extLst>
                <a:ext uri="{FF2B5EF4-FFF2-40B4-BE49-F238E27FC236}">
                  <a16:creationId xmlns:a16="http://schemas.microsoft.com/office/drawing/2014/main" id="{6E363781-B4D5-4480-80FA-F6B7A0565368}"/>
                </a:ext>
              </a:extLst>
            </p:cNvPr>
            <p:cNvSpPr/>
            <p:nvPr/>
          </p:nvSpPr>
          <p:spPr bwMode="auto">
            <a:xfrm>
              <a:off x="8172527" y="4732895"/>
              <a:ext cx="495391" cy="22993"/>
            </a:xfrm>
            <a:custGeom>
              <a:avLst/>
              <a:gdLst>
                <a:gd name="T0" fmla="*/ 482 w 486"/>
                <a:gd name="T1" fmla="*/ 23 h 23"/>
                <a:gd name="T2" fmla="*/ 4 w 486"/>
                <a:gd name="T3" fmla="*/ 23 h 23"/>
                <a:gd name="T4" fmla="*/ 0 w 486"/>
                <a:gd name="T5" fmla="*/ 19 h 23"/>
                <a:gd name="T6" fmla="*/ 0 w 486"/>
                <a:gd name="T7" fmla="*/ 4 h 23"/>
                <a:gd name="T8" fmla="*/ 4 w 486"/>
                <a:gd name="T9" fmla="*/ 0 h 23"/>
                <a:gd name="T10" fmla="*/ 482 w 486"/>
                <a:gd name="T11" fmla="*/ 0 h 23"/>
                <a:gd name="T12" fmla="*/ 486 w 486"/>
                <a:gd name="T13" fmla="*/ 4 h 23"/>
                <a:gd name="T14" fmla="*/ 486 w 486"/>
                <a:gd name="T15" fmla="*/ 19 h 23"/>
                <a:gd name="T16" fmla="*/ 482 w 486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23">
                  <a:moveTo>
                    <a:pt x="48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4" y="0"/>
                    <a:pt x="486" y="2"/>
                    <a:pt x="486" y="4"/>
                  </a:cubicBezTo>
                  <a:cubicBezTo>
                    <a:pt x="486" y="19"/>
                    <a:pt x="486" y="19"/>
                    <a:pt x="486" y="19"/>
                  </a:cubicBezTo>
                  <a:cubicBezTo>
                    <a:pt x="486" y="21"/>
                    <a:pt x="484" y="23"/>
                    <a:pt x="482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8" name="î$1ïḑè">
              <a:extLst>
                <a:ext uri="{FF2B5EF4-FFF2-40B4-BE49-F238E27FC236}">
                  <a16:creationId xmlns:a16="http://schemas.microsoft.com/office/drawing/2014/main" id="{B8F7CC1B-2099-4B67-BF0C-B215F53AAC37}"/>
                </a:ext>
              </a:extLst>
            </p:cNvPr>
            <p:cNvSpPr/>
            <p:nvPr/>
          </p:nvSpPr>
          <p:spPr bwMode="auto">
            <a:xfrm>
              <a:off x="8172527" y="4776094"/>
              <a:ext cx="495391" cy="23690"/>
            </a:xfrm>
            <a:custGeom>
              <a:avLst/>
              <a:gdLst>
                <a:gd name="T0" fmla="*/ 482 w 486"/>
                <a:gd name="T1" fmla="*/ 23 h 23"/>
                <a:gd name="T2" fmla="*/ 4 w 486"/>
                <a:gd name="T3" fmla="*/ 23 h 23"/>
                <a:gd name="T4" fmla="*/ 0 w 486"/>
                <a:gd name="T5" fmla="*/ 19 h 23"/>
                <a:gd name="T6" fmla="*/ 0 w 486"/>
                <a:gd name="T7" fmla="*/ 4 h 23"/>
                <a:gd name="T8" fmla="*/ 4 w 486"/>
                <a:gd name="T9" fmla="*/ 0 h 23"/>
                <a:gd name="T10" fmla="*/ 482 w 486"/>
                <a:gd name="T11" fmla="*/ 0 h 23"/>
                <a:gd name="T12" fmla="*/ 486 w 486"/>
                <a:gd name="T13" fmla="*/ 4 h 23"/>
                <a:gd name="T14" fmla="*/ 486 w 486"/>
                <a:gd name="T15" fmla="*/ 19 h 23"/>
                <a:gd name="T16" fmla="*/ 482 w 486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23">
                  <a:moveTo>
                    <a:pt x="48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4" y="0"/>
                    <a:pt x="486" y="2"/>
                    <a:pt x="486" y="4"/>
                  </a:cubicBezTo>
                  <a:cubicBezTo>
                    <a:pt x="486" y="19"/>
                    <a:pt x="486" y="19"/>
                    <a:pt x="486" y="19"/>
                  </a:cubicBezTo>
                  <a:cubicBezTo>
                    <a:pt x="486" y="21"/>
                    <a:pt x="484" y="23"/>
                    <a:pt x="482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9" name="ï$líďe">
              <a:extLst>
                <a:ext uri="{FF2B5EF4-FFF2-40B4-BE49-F238E27FC236}">
                  <a16:creationId xmlns:a16="http://schemas.microsoft.com/office/drawing/2014/main" id="{6DE327D2-CC11-4B0C-BAB8-692DA75C8264}"/>
                </a:ext>
              </a:extLst>
            </p:cNvPr>
            <p:cNvSpPr/>
            <p:nvPr/>
          </p:nvSpPr>
          <p:spPr bwMode="auto">
            <a:xfrm>
              <a:off x="8172527" y="4819989"/>
              <a:ext cx="495391" cy="23690"/>
            </a:xfrm>
            <a:custGeom>
              <a:avLst/>
              <a:gdLst>
                <a:gd name="T0" fmla="*/ 482 w 486"/>
                <a:gd name="T1" fmla="*/ 23 h 23"/>
                <a:gd name="T2" fmla="*/ 4 w 486"/>
                <a:gd name="T3" fmla="*/ 23 h 23"/>
                <a:gd name="T4" fmla="*/ 0 w 486"/>
                <a:gd name="T5" fmla="*/ 19 h 23"/>
                <a:gd name="T6" fmla="*/ 0 w 486"/>
                <a:gd name="T7" fmla="*/ 4 h 23"/>
                <a:gd name="T8" fmla="*/ 4 w 486"/>
                <a:gd name="T9" fmla="*/ 0 h 23"/>
                <a:gd name="T10" fmla="*/ 482 w 486"/>
                <a:gd name="T11" fmla="*/ 0 h 23"/>
                <a:gd name="T12" fmla="*/ 486 w 486"/>
                <a:gd name="T13" fmla="*/ 4 h 23"/>
                <a:gd name="T14" fmla="*/ 486 w 486"/>
                <a:gd name="T15" fmla="*/ 19 h 23"/>
                <a:gd name="T16" fmla="*/ 482 w 486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23">
                  <a:moveTo>
                    <a:pt x="48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4" y="0"/>
                    <a:pt x="486" y="2"/>
                    <a:pt x="486" y="4"/>
                  </a:cubicBezTo>
                  <a:cubicBezTo>
                    <a:pt x="486" y="19"/>
                    <a:pt x="486" y="19"/>
                    <a:pt x="486" y="19"/>
                  </a:cubicBezTo>
                  <a:cubicBezTo>
                    <a:pt x="486" y="21"/>
                    <a:pt x="484" y="23"/>
                    <a:pt x="482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0" name="ïṧḻiḋé">
              <a:extLst>
                <a:ext uri="{FF2B5EF4-FFF2-40B4-BE49-F238E27FC236}">
                  <a16:creationId xmlns:a16="http://schemas.microsoft.com/office/drawing/2014/main" id="{7D36ABCB-7E73-4CB7-874D-B3CC2649006E}"/>
                </a:ext>
              </a:extLst>
            </p:cNvPr>
            <p:cNvSpPr/>
            <p:nvPr/>
          </p:nvSpPr>
          <p:spPr bwMode="auto">
            <a:xfrm>
              <a:off x="8172527" y="4863885"/>
              <a:ext cx="495391" cy="133080"/>
            </a:xfrm>
            <a:custGeom>
              <a:avLst/>
              <a:gdLst>
                <a:gd name="T0" fmla="*/ 478 w 486"/>
                <a:gd name="T1" fmla="*/ 0 h 131"/>
                <a:gd name="T2" fmla="*/ 239 w 486"/>
                <a:gd name="T3" fmla="*/ 0 h 131"/>
                <a:gd name="T4" fmla="*/ 231 w 486"/>
                <a:gd name="T5" fmla="*/ 0 h 131"/>
                <a:gd name="T6" fmla="*/ 8 w 486"/>
                <a:gd name="T7" fmla="*/ 0 h 131"/>
                <a:gd name="T8" fmla="*/ 0 w 486"/>
                <a:gd name="T9" fmla="*/ 8 h 131"/>
                <a:gd name="T10" fmla="*/ 53 w 486"/>
                <a:gd name="T11" fmla="*/ 116 h 131"/>
                <a:gd name="T12" fmla="*/ 235 w 486"/>
                <a:gd name="T13" fmla="*/ 131 h 131"/>
                <a:gd name="T14" fmla="*/ 433 w 486"/>
                <a:gd name="T15" fmla="*/ 116 h 131"/>
                <a:gd name="T16" fmla="*/ 486 w 486"/>
                <a:gd name="T17" fmla="*/ 8 h 131"/>
                <a:gd name="T18" fmla="*/ 478 w 486"/>
                <a:gd name="T1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6" h="131">
                  <a:moveTo>
                    <a:pt x="478" y="0"/>
                  </a:moveTo>
                  <a:cubicBezTo>
                    <a:pt x="239" y="0"/>
                    <a:pt x="239" y="0"/>
                    <a:pt x="239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4" y="38"/>
                    <a:pt x="27" y="107"/>
                    <a:pt x="53" y="116"/>
                  </a:cubicBezTo>
                  <a:cubicBezTo>
                    <a:pt x="78" y="125"/>
                    <a:pt x="154" y="131"/>
                    <a:pt x="235" y="131"/>
                  </a:cubicBezTo>
                  <a:cubicBezTo>
                    <a:pt x="316" y="131"/>
                    <a:pt x="408" y="125"/>
                    <a:pt x="433" y="116"/>
                  </a:cubicBezTo>
                  <a:cubicBezTo>
                    <a:pt x="459" y="107"/>
                    <a:pt x="482" y="38"/>
                    <a:pt x="486" y="8"/>
                  </a:cubicBezTo>
                  <a:cubicBezTo>
                    <a:pt x="486" y="4"/>
                    <a:pt x="482" y="0"/>
                    <a:pt x="478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1" name="isļîďê">
              <a:extLst>
                <a:ext uri="{FF2B5EF4-FFF2-40B4-BE49-F238E27FC236}">
                  <a16:creationId xmlns:a16="http://schemas.microsoft.com/office/drawing/2014/main" id="{1F5B11C7-9864-4899-9A63-7ECAB662AC66}"/>
                </a:ext>
              </a:extLst>
            </p:cNvPr>
            <p:cNvSpPr/>
            <p:nvPr/>
          </p:nvSpPr>
          <p:spPr bwMode="auto">
            <a:xfrm>
              <a:off x="8309091" y="4976759"/>
              <a:ext cx="222264" cy="5434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2" name="ïś1ïḋe">
              <a:extLst>
                <a:ext uri="{FF2B5EF4-FFF2-40B4-BE49-F238E27FC236}">
                  <a16:creationId xmlns:a16="http://schemas.microsoft.com/office/drawing/2014/main" id="{4B8D5895-0DFC-4AD2-8A4B-81EBAB5CB6A9}"/>
                </a:ext>
              </a:extLst>
            </p:cNvPr>
            <p:cNvSpPr/>
            <p:nvPr/>
          </p:nvSpPr>
          <p:spPr bwMode="auto">
            <a:xfrm>
              <a:off x="8049202" y="4557313"/>
              <a:ext cx="543467" cy="5434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3" name="i$ľîḓê">
              <a:extLst>
                <a:ext uri="{FF2B5EF4-FFF2-40B4-BE49-F238E27FC236}">
                  <a16:creationId xmlns:a16="http://schemas.microsoft.com/office/drawing/2014/main" id="{ED0B667A-79B5-49A0-B47A-249F46726DB7}"/>
                </a:ext>
              </a:extLst>
            </p:cNvPr>
            <p:cNvSpPr/>
            <p:nvPr/>
          </p:nvSpPr>
          <p:spPr bwMode="auto">
            <a:xfrm>
              <a:off x="8049202" y="4477187"/>
              <a:ext cx="52256" cy="2139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4" name="îŝľîḓè">
              <a:extLst>
                <a:ext uri="{FF2B5EF4-FFF2-40B4-BE49-F238E27FC236}">
                  <a16:creationId xmlns:a16="http://schemas.microsoft.com/office/drawing/2014/main" id="{AB883BE4-F7A6-4594-A29B-AC010E9D6517}"/>
                </a:ext>
              </a:extLst>
            </p:cNvPr>
            <p:cNvSpPr/>
            <p:nvPr/>
          </p:nvSpPr>
          <p:spPr bwMode="auto">
            <a:xfrm>
              <a:off x="8225480" y="4557313"/>
              <a:ext cx="544861" cy="5434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5" name="ïṧlíḋê">
              <a:extLst>
                <a:ext uri="{FF2B5EF4-FFF2-40B4-BE49-F238E27FC236}">
                  <a16:creationId xmlns:a16="http://schemas.microsoft.com/office/drawing/2014/main" id="{126416CD-00A8-42E5-812B-E38EFC9191A2}"/>
                </a:ext>
              </a:extLst>
            </p:cNvPr>
            <p:cNvSpPr/>
            <p:nvPr/>
          </p:nvSpPr>
          <p:spPr bwMode="auto">
            <a:xfrm>
              <a:off x="8717388" y="4477187"/>
              <a:ext cx="52953" cy="2139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33260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PA-eighth-note_27352">
            <a:extLst>
              <a:ext uri="{FF2B5EF4-FFF2-40B4-BE49-F238E27FC236}">
                <a16:creationId xmlns:a16="http://schemas.microsoft.com/office/drawing/2014/main" id="{664AD4D8-6188-422E-9946-0FD2E780FC6E}"/>
              </a:ext>
            </a:extLst>
          </p:cNvPr>
          <p:cNvSpPr>
            <a:spLocks noChangeAspect="1"/>
          </p:cNvSpPr>
          <p:nvPr userDrawn="1">
            <p:custDataLst>
              <p:tags r:id="rId1"/>
            </p:custDataLst>
          </p:nvPr>
        </p:nvSpPr>
        <p:spPr bwMode="auto">
          <a:xfrm>
            <a:off x="4683719" y="1572029"/>
            <a:ext cx="210712" cy="342985"/>
          </a:xfrm>
          <a:custGeom>
            <a:avLst/>
            <a:gdLst>
              <a:gd name="T0" fmla="*/ 407031 w 604011"/>
              <a:gd name="T1" fmla="*/ 407031 w 604011"/>
              <a:gd name="T2" fmla="*/ 407031 w 604011"/>
              <a:gd name="T3" fmla="*/ 407031 w 604011"/>
              <a:gd name="T4" fmla="*/ 407031 w 604011"/>
              <a:gd name="T5" fmla="*/ 407031 w 604011"/>
              <a:gd name="T6" fmla="*/ 407031 w 604011"/>
              <a:gd name="T7" fmla="*/ 407031 w 604011"/>
              <a:gd name="T8" fmla="*/ 407031 w 604011"/>
              <a:gd name="T9" fmla="*/ 407031 w 604011"/>
              <a:gd name="T10" fmla="*/ 407031 w 604011"/>
              <a:gd name="T11" fmla="*/ 407031 w 604011"/>
              <a:gd name="T12" fmla="*/ 407031 w 604011"/>
              <a:gd name="T13" fmla="*/ 407031 w 604011"/>
              <a:gd name="T14" fmla="*/ 407031 w 604011"/>
              <a:gd name="T15" fmla="*/ 407031 w 604011"/>
              <a:gd name="T16" fmla="*/ 407031 w 604011"/>
              <a:gd name="T17" fmla="*/ 407031 w 604011"/>
              <a:gd name="T18" fmla="*/ 407031 w 604011"/>
              <a:gd name="T19" fmla="*/ 407031 w 604011"/>
              <a:gd name="T20" fmla="*/ 407031 w 604011"/>
              <a:gd name="T21" fmla="*/ 407031 w 604011"/>
              <a:gd name="T22" fmla="*/ 407031 w 604011"/>
              <a:gd name="T23" fmla="*/ 407031 w 604011"/>
              <a:gd name="T24" fmla="*/ 407031 w 604011"/>
              <a:gd name="T25" fmla="*/ 407031 w 604011"/>
              <a:gd name="T26" fmla="*/ 407031 w 604011"/>
              <a:gd name="T27" fmla="*/ 407031 w 604011"/>
              <a:gd name="T28" fmla="*/ 407031 w 604011"/>
              <a:gd name="T29" fmla="*/ 407031 w 6040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32" h="3312">
                <a:moveTo>
                  <a:pt x="941" y="3189"/>
                </a:moveTo>
                <a:cubicBezTo>
                  <a:pt x="1302" y="3073"/>
                  <a:pt x="1532" y="2771"/>
                  <a:pt x="1474" y="2500"/>
                </a:cubicBezTo>
                <a:cubicBezTo>
                  <a:pt x="1475" y="2485"/>
                  <a:pt x="1473" y="2469"/>
                  <a:pt x="1467" y="2453"/>
                </a:cubicBezTo>
                <a:lnTo>
                  <a:pt x="872" y="919"/>
                </a:lnTo>
                <a:cubicBezTo>
                  <a:pt x="966" y="923"/>
                  <a:pt x="1130" y="950"/>
                  <a:pt x="1364" y="1066"/>
                </a:cubicBezTo>
                <a:cubicBezTo>
                  <a:pt x="1753" y="1259"/>
                  <a:pt x="1922" y="1544"/>
                  <a:pt x="1922" y="1544"/>
                </a:cubicBezTo>
                <a:cubicBezTo>
                  <a:pt x="2032" y="1222"/>
                  <a:pt x="1664" y="854"/>
                  <a:pt x="1407" y="735"/>
                </a:cubicBezTo>
                <a:cubicBezTo>
                  <a:pt x="1228" y="652"/>
                  <a:pt x="865" y="476"/>
                  <a:pt x="662" y="378"/>
                </a:cubicBezTo>
                <a:lnTo>
                  <a:pt x="548" y="85"/>
                </a:lnTo>
                <a:cubicBezTo>
                  <a:pt x="526" y="29"/>
                  <a:pt x="462" y="0"/>
                  <a:pt x="405" y="23"/>
                </a:cubicBezTo>
                <a:cubicBezTo>
                  <a:pt x="349" y="45"/>
                  <a:pt x="320" y="108"/>
                  <a:pt x="342" y="165"/>
                </a:cubicBezTo>
                <a:lnTo>
                  <a:pt x="1116" y="2158"/>
                </a:lnTo>
                <a:cubicBezTo>
                  <a:pt x="968" y="2116"/>
                  <a:pt x="791" y="2118"/>
                  <a:pt x="614" y="2175"/>
                </a:cubicBezTo>
                <a:cubicBezTo>
                  <a:pt x="234" y="2297"/>
                  <a:pt x="0" y="2624"/>
                  <a:pt x="90" y="2904"/>
                </a:cubicBezTo>
                <a:cubicBezTo>
                  <a:pt x="180" y="3184"/>
                  <a:pt x="561" y="3312"/>
                  <a:pt x="941" y="318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27" name="PA-demisemiquaver_153783">
            <a:extLst>
              <a:ext uri="{FF2B5EF4-FFF2-40B4-BE49-F238E27FC236}">
                <a16:creationId xmlns:a16="http://schemas.microsoft.com/office/drawing/2014/main" id="{06EE91A2-DD6F-4C17-AC70-64B9CB56C9D7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 bwMode="auto">
          <a:xfrm>
            <a:off x="3624419" y="2854889"/>
            <a:ext cx="225076" cy="224997"/>
          </a:xfrm>
          <a:custGeom>
            <a:avLst/>
            <a:gdLst>
              <a:gd name="T0" fmla="*/ 325000 h 606722"/>
              <a:gd name="T1" fmla="*/ 325000 h 606722"/>
              <a:gd name="T2" fmla="*/ 325000 h 606722"/>
              <a:gd name="T3" fmla="*/ 325000 h 606722"/>
              <a:gd name="T4" fmla="*/ 325000 h 606722"/>
              <a:gd name="T5" fmla="*/ 325000 h 606722"/>
              <a:gd name="T6" fmla="*/ 325000 h 606722"/>
              <a:gd name="T7" fmla="*/ 325000 h 606722"/>
              <a:gd name="T8" fmla="*/ 325000 h 606722"/>
              <a:gd name="T9" fmla="*/ 325000 h 606722"/>
              <a:gd name="T10" fmla="*/ 325000 h 606722"/>
              <a:gd name="T11" fmla="*/ 325000 h 606722"/>
              <a:gd name="T12" fmla="*/ 325000 h 606722"/>
              <a:gd name="T13" fmla="*/ 325000 h 606722"/>
              <a:gd name="T14" fmla="*/ 325000 h 606722"/>
              <a:gd name="T15" fmla="*/ 325000 h 606722"/>
              <a:gd name="T16" fmla="*/ 325000 h 606722"/>
              <a:gd name="T17" fmla="*/ 325000 h 606722"/>
              <a:gd name="T18" fmla="*/ 325000 h 606722"/>
              <a:gd name="T19" fmla="*/ 325000 h 606722"/>
              <a:gd name="T20" fmla="*/ 325000 h 606722"/>
              <a:gd name="T21" fmla="*/ 325000 h 606722"/>
              <a:gd name="T22" fmla="*/ 325000 h 606722"/>
              <a:gd name="T23" fmla="*/ 325000 h 606722"/>
              <a:gd name="T24" fmla="*/ 325000 h 606722"/>
              <a:gd name="T25" fmla="*/ 325000 h 606722"/>
              <a:gd name="T26" fmla="*/ 325000 h 606722"/>
              <a:gd name="T27" fmla="*/ 325000 h 606722"/>
              <a:gd name="T28" fmla="*/ 325000 h 606722"/>
              <a:gd name="T29" fmla="*/ 325000 h 606722"/>
              <a:gd name="T30" fmla="*/ 325000 h 606722"/>
              <a:gd name="T31" fmla="*/ 325000 h 606722"/>
              <a:gd name="T32" fmla="*/ 325000 h 606722"/>
              <a:gd name="T33" fmla="*/ 325000 h 606722"/>
              <a:gd name="T34" fmla="*/ 325000 h 606722"/>
              <a:gd name="T35" fmla="*/ 325000 h 606722"/>
              <a:gd name="T36" fmla="*/ 325000 h 606722"/>
              <a:gd name="T37" fmla="*/ 325000 h 606722"/>
              <a:gd name="T38" fmla="*/ 325000 h 606722"/>
              <a:gd name="T39" fmla="*/ 325000 h 606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400" h="4406">
                <a:moveTo>
                  <a:pt x="4331" y="55"/>
                </a:moveTo>
                <a:cubicBezTo>
                  <a:pt x="4287" y="17"/>
                  <a:pt x="4229" y="0"/>
                  <a:pt x="4172" y="8"/>
                </a:cubicBezTo>
                <a:lnTo>
                  <a:pt x="1372" y="408"/>
                </a:lnTo>
                <a:cubicBezTo>
                  <a:pt x="1273" y="422"/>
                  <a:pt x="1200" y="506"/>
                  <a:pt x="1200" y="606"/>
                </a:cubicBezTo>
                <a:lnTo>
                  <a:pt x="1200" y="1406"/>
                </a:lnTo>
                <a:lnTo>
                  <a:pt x="1200" y="3038"/>
                </a:lnTo>
                <a:cubicBezTo>
                  <a:pt x="1082" y="2975"/>
                  <a:pt x="946" y="2939"/>
                  <a:pt x="800" y="2939"/>
                </a:cubicBezTo>
                <a:cubicBezTo>
                  <a:pt x="359" y="2939"/>
                  <a:pt x="0" y="3268"/>
                  <a:pt x="0" y="3673"/>
                </a:cubicBezTo>
                <a:cubicBezTo>
                  <a:pt x="0" y="4077"/>
                  <a:pt x="359" y="4406"/>
                  <a:pt x="800" y="4406"/>
                </a:cubicBezTo>
                <a:cubicBezTo>
                  <a:pt x="1241" y="4406"/>
                  <a:pt x="1600" y="4077"/>
                  <a:pt x="1600" y="3673"/>
                </a:cubicBezTo>
                <a:lnTo>
                  <a:pt x="1600" y="1579"/>
                </a:lnTo>
                <a:lnTo>
                  <a:pt x="4000" y="1237"/>
                </a:lnTo>
                <a:lnTo>
                  <a:pt x="4000" y="2705"/>
                </a:lnTo>
                <a:cubicBezTo>
                  <a:pt x="3882" y="2642"/>
                  <a:pt x="3746" y="2606"/>
                  <a:pt x="3600" y="2606"/>
                </a:cubicBezTo>
                <a:cubicBezTo>
                  <a:pt x="3159" y="2606"/>
                  <a:pt x="2800" y="2935"/>
                  <a:pt x="2800" y="3339"/>
                </a:cubicBezTo>
                <a:cubicBezTo>
                  <a:pt x="2800" y="3744"/>
                  <a:pt x="3159" y="4073"/>
                  <a:pt x="3600" y="4073"/>
                </a:cubicBezTo>
                <a:cubicBezTo>
                  <a:pt x="4041" y="4073"/>
                  <a:pt x="4400" y="3744"/>
                  <a:pt x="4400" y="3339"/>
                </a:cubicBezTo>
                <a:lnTo>
                  <a:pt x="4400" y="1006"/>
                </a:lnTo>
                <a:lnTo>
                  <a:pt x="4400" y="206"/>
                </a:lnTo>
                <a:cubicBezTo>
                  <a:pt x="4400" y="148"/>
                  <a:pt x="4375" y="93"/>
                  <a:pt x="4331" y="5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28" name="PA-eighth-note_27352">
            <a:extLst>
              <a:ext uri="{FF2B5EF4-FFF2-40B4-BE49-F238E27FC236}">
                <a16:creationId xmlns:a16="http://schemas.microsoft.com/office/drawing/2014/main" id="{7D680A08-AA31-4DBC-B47D-0A0D45298FBF}"/>
              </a:ext>
            </a:extLst>
          </p:cNvPr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4435017" y="1872837"/>
            <a:ext cx="210712" cy="342985"/>
          </a:xfrm>
          <a:custGeom>
            <a:avLst/>
            <a:gdLst>
              <a:gd name="T0" fmla="*/ 407031 w 604011"/>
              <a:gd name="T1" fmla="*/ 407031 w 604011"/>
              <a:gd name="T2" fmla="*/ 407031 w 604011"/>
              <a:gd name="T3" fmla="*/ 407031 w 604011"/>
              <a:gd name="T4" fmla="*/ 407031 w 604011"/>
              <a:gd name="T5" fmla="*/ 407031 w 604011"/>
              <a:gd name="T6" fmla="*/ 407031 w 604011"/>
              <a:gd name="T7" fmla="*/ 407031 w 604011"/>
              <a:gd name="T8" fmla="*/ 407031 w 604011"/>
              <a:gd name="T9" fmla="*/ 407031 w 604011"/>
              <a:gd name="T10" fmla="*/ 407031 w 604011"/>
              <a:gd name="T11" fmla="*/ 407031 w 604011"/>
              <a:gd name="T12" fmla="*/ 407031 w 604011"/>
              <a:gd name="T13" fmla="*/ 407031 w 604011"/>
              <a:gd name="T14" fmla="*/ 407031 w 604011"/>
              <a:gd name="T15" fmla="*/ 407031 w 604011"/>
              <a:gd name="T16" fmla="*/ 407031 w 604011"/>
              <a:gd name="T17" fmla="*/ 407031 w 604011"/>
              <a:gd name="T18" fmla="*/ 407031 w 604011"/>
              <a:gd name="T19" fmla="*/ 407031 w 604011"/>
              <a:gd name="T20" fmla="*/ 407031 w 604011"/>
              <a:gd name="T21" fmla="*/ 407031 w 604011"/>
              <a:gd name="T22" fmla="*/ 407031 w 604011"/>
              <a:gd name="T23" fmla="*/ 407031 w 604011"/>
              <a:gd name="T24" fmla="*/ 407031 w 604011"/>
              <a:gd name="T25" fmla="*/ 407031 w 604011"/>
              <a:gd name="T26" fmla="*/ 407031 w 604011"/>
              <a:gd name="T27" fmla="*/ 407031 w 604011"/>
              <a:gd name="T28" fmla="*/ 407031 w 604011"/>
              <a:gd name="T29" fmla="*/ 407031 w 6040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32" h="3312">
                <a:moveTo>
                  <a:pt x="941" y="3189"/>
                </a:moveTo>
                <a:cubicBezTo>
                  <a:pt x="1302" y="3073"/>
                  <a:pt x="1532" y="2771"/>
                  <a:pt x="1474" y="2500"/>
                </a:cubicBezTo>
                <a:cubicBezTo>
                  <a:pt x="1475" y="2485"/>
                  <a:pt x="1473" y="2469"/>
                  <a:pt x="1467" y="2453"/>
                </a:cubicBezTo>
                <a:lnTo>
                  <a:pt x="872" y="919"/>
                </a:lnTo>
                <a:cubicBezTo>
                  <a:pt x="966" y="923"/>
                  <a:pt x="1130" y="950"/>
                  <a:pt x="1364" y="1066"/>
                </a:cubicBezTo>
                <a:cubicBezTo>
                  <a:pt x="1753" y="1259"/>
                  <a:pt x="1922" y="1544"/>
                  <a:pt x="1922" y="1544"/>
                </a:cubicBezTo>
                <a:cubicBezTo>
                  <a:pt x="2032" y="1222"/>
                  <a:pt x="1664" y="854"/>
                  <a:pt x="1407" y="735"/>
                </a:cubicBezTo>
                <a:cubicBezTo>
                  <a:pt x="1228" y="652"/>
                  <a:pt x="865" y="476"/>
                  <a:pt x="662" y="378"/>
                </a:cubicBezTo>
                <a:lnTo>
                  <a:pt x="548" y="85"/>
                </a:lnTo>
                <a:cubicBezTo>
                  <a:pt x="526" y="29"/>
                  <a:pt x="462" y="0"/>
                  <a:pt x="405" y="23"/>
                </a:cubicBezTo>
                <a:cubicBezTo>
                  <a:pt x="349" y="45"/>
                  <a:pt x="320" y="108"/>
                  <a:pt x="342" y="165"/>
                </a:cubicBezTo>
                <a:lnTo>
                  <a:pt x="1116" y="2158"/>
                </a:lnTo>
                <a:cubicBezTo>
                  <a:pt x="968" y="2116"/>
                  <a:pt x="791" y="2118"/>
                  <a:pt x="614" y="2175"/>
                </a:cubicBezTo>
                <a:cubicBezTo>
                  <a:pt x="234" y="2297"/>
                  <a:pt x="0" y="2624"/>
                  <a:pt x="90" y="2904"/>
                </a:cubicBezTo>
                <a:cubicBezTo>
                  <a:pt x="180" y="3184"/>
                  <a:pt x="561" y="3312"/>
                  <a:pt x="941" y="318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29" name="PA-eighth-note_27352">
            <a:extLst>
              <a:ext uri="{FF2B5EF4-FFF2-40B4-BE49-F238E27FC236}">
                <a16:creationId xmlns:a16="http://schemas.microsoft.com/office/drawing/2014/main" id="{716F22F6-8247-4413-8A22-AD55DE4160D3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 bwMode="auto">
          <a:xfrm>
            <a:off x="4118468" y="3765901"/>
            <a:ext cx="138275" cy="225076"/>
          </a:xfrm>
          <a:custGeom>
            <a:avLst/>
            <a:gdLst>
              <a:gd name="T0" fmla="*/ 407031 w 604011"/>
              <a:gd name="T1" fmla="*/ 407031 w 604011"/>
              <a:gd name="T2" fmla="*/ 407031 w 604011"/>
              <a:gd name="T3" fmla="*/ 407031 w 604011"/>
              <a:gd name="T4" fmla="*/ 407031 w 604011"/>
              <a:gd name="T5" fmla="*/ 407031 w 604011"/>
              <a:gd name="T6" fmla="*/ 407031 w 604011"/>
              <a:gd name="T7" fmla="*/ 407031 w 604011"/>
              <a:gd name="T8" fmla="*/ 407031 w 604011"/>
              <a:gd name="T9" fmla="*/ 407031 w 604011"/>
              <a:gd name="T10" fmla="*/ 407031 w 604011"/>
              <a:gd name="T11" fmla="*/ 407031 w 604011"/>
              <a:gd name="T12" fmla="*/ 407031 w 604011"/>
              <a:gd name="T13" fmla="*/ 407031 w 604011"/>
              <a:gd name="T14" fmla="*/ 407031 w 604011"/>
              <a:gd name="T15" fmla="*/ 407031 w 604011"/>
              <a:gd name="T16" fmla="*/ 407031 w 604011"/>
              <a:gd name="T17" fmla="*/ 407031 w 604011"/>
              <a:gd name="T18" fmla="*/ 407031 w 604011"/>
              <a:gd name="T19" fmla="*/ 407031 w 604011"/>
              <a:gd name="T20" fmla="*/ 407031 w 604011"/>
              <a:gd name="T21" fmla="*/ 407031 w 604011"/>
              <a:gd name="T22" fmla="*/ 407031 w 604011"/>
              <a:gd name="T23" fmla="*/ 407031 w 604011"/>
              <a:gd name="T24" fmla="*/ 407031 w 604011"/>
              <a:gd name="T25" fmla="*/ 407031 w 604011"/>
              <a:gd name="T26" fmla="*/ 407031 w 604011"/>
              <a:gd name="T27" fmla="*/ 407031 w 604011"/>
              <a:gd name="T28" fmla="*/ 407031 w 604011"/>
              <a:gd name="T29" fmla="*/ 407031 w 6040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32" h="3312">
                <a:moveTo>
                  <a:pt x="941" y="3189"/>
                </a:moveTo>
                <a:cubicBezTo>
                  <a:pt x="1302" y="3073"/>
                  <a:pt x="1532" y="2771"/>
                  <a:pt x="1474" y="2500"/>
                </a:cubicBezTo>
                <a:cubicBezTo>
                  <a:pt x="1475" y="2485"/>
                  <a:pt x="1473" y="2469"/>
                  <a:pt x="1467" y="2453"/>
                </a:cubicBezTo>
                <a:lnTo>
                  <a:pt x="872" y="919"/>
                </a:lnTo>
                <a:cubicBezTo>
                  <a:pt x="966" y="923"/>
                  <a:pt x="1130" y="950"/>
                  <a:pt x="1364" y="1066"/>
                </a:cubicBezTo>
                <a:cubicBezTo>
                  <a:pt x="1753" y="1259"/>
                  <a:pt x="1922" y="1544"/>
                  <a:pt x="1922" y="1544"/>
                </a:cubicBezTo>
                <a:cubicBezTo>
                  <a:pt x="2032" y="1222"/>
                  <a:pt x="1664" y="854"/>
                  <a:pt x="1407" y="735"/>
                </a:cubicBezTo>
                <a:cubicBezTo>
                  <a:pt x="1228" y="652"/>
                  <a:pt x="865" y="476"/>
                  <a:pt x="662" y="378"/>
                </a:cubicBezTo>
                <a:lnTo>
                  <a:pt x="548" y="85"/>
                </a:lnTo>
                <a:cubicBezTo>
                  <a:pt x="526" y="29"/>
                  <a:pt x="462" y="0"/>
                  <a:pt x="405" y="23"/>
                </a:cubicBezTo>
                <a:cubicBezTo>
                  <a:pt x="349" y="45"/>
                  <a:pt x="320" y="108"/>
                  <a:pt x="342" y="165"/>
                </a:cubicBezTo>
                <a:lnTo>
                  <a:pt x="1116" y="2158"/>
                </a:lnTo>
                <a:cubicBezTo>
                  <a:pt x="968" y="2116"/>
                  <a:pt x="791" y="2118"/>
                  <a:pt x="614" y="2175"/>
                </a:cubicBezTo>
                <a:cubicBezTo>
                  <a:pt x="234" y="2297"/>
                  <a:pt x="0" y="2624"/>
                  <a:pt x="90" y="2904"/>
                </a:cubicBezTo>
                <a:cubicBezTo>
                  <a:pt x="180" y="3184"/>
                  <a:pt x="561" y="3312"/>
                  <a:pt x="941" y="318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30" name="PA-demisemiquaver_153783">
            <a:extLst>
              <a:ext uri="{FF2B5EF4-FFF2-40B4-BE49-F238E27FC236}">
                <a16:creationId xmlns:a16="http://schemas.microsoft.com/office/drawing/2014/main" id="{47B83E02-37AA-4845-88F4-8FDC474756AD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 bwMode="auto">
          <a:xfrm>
            <a:off x="3736957" y="1896462"/>
            <a:ext cx="225076" cy="224997"/>
          </a:xfrm>
          <a:custGeom>
            <a:avLst/>
            <a:gdLst>
              <a:gd name="T0" fmla="*/ 325000 h 606722"/>
              <a:gd name="T1" fmla="*/ 325000 h 606722"/>
              <a:gd name="T2" fmla="*/ 325000 h 606722"/>
              <a:gd name="T3" fmla="*/ 325000 h 606722"/>
              <a:gd name="T4" fmla="*/ 325000 h 606722"/>
              <a:gd name="T5" fmla="*/ 325000 h 606722"/>
              <a:gd name="T6" fmla="*/ 325000 h 606722"/>
              <a:gd name="T7" fmla="*/ 325000 h 606722"/>
              <a:gd name="T8" fmla="*/ 325000 h 606722"/>
              <a:gd name="T9" fmla="*/ 325000 h 606722"/>
              <a:gd name="T10" fmla="*/ 325000 h 606722"/>
              <a:gd name="T11" fmla="*/ 325000 h 606722"/>
              <a:gd name="T12" fmla="*/ 325000 h 606722"/>
              <a:gd name="T13" fmla="*/ 325000 h 606722"/>
              <a:gd name="T14" fmla="*/ 325000 h 606722"/>
              <a:gd name="T15" fmla="*/ 325000 h 606722"/>
              <a:gd name="T16" fmla="*/ 325000 h 606722"/>
              <a:gd name="T17" fmla="*/ 325000 h 606722"/>
              <a:gd name="T18" fmla="*/ 325000 h 606722"/>
              <a:gd name="T19" fmla="*/ 325000 h 606722"/>
              <a:gd name="T20" fmla="*/ 325000 h 606722"/>
              <a:gd name="T21" fmla="*/ 325000 h 606722"/>
              <a:gd name="T22" fmla="*/ 325000 h 606722"/>
              <a:gd name="T23" fmla="*/ 325000 h 606722"/>
              <a:gd name="T24" fmla="*/ 325000 h 606722"/>
              <a:gd name="T25" fmla="*/ 325000 h 606722"/>
              <a:gd name="T26" fmla="*/ 325000 h 606722"/>
              <a:gd name="T27" fmla="*/ 325000 h 606722"/>
              <a:gd name="T28" fmla="*/ 325000 h 606722"/>
              <a:gd name="T29" fmla="*/ 325000 h 606722"/>
              <a:gd name="T30" fmla="*/ 325000 h 606722"/>
              <a:gd name="T31" fmla="*/ 325000 h 606722"/>
              <a:gd name="T32" fmla="*/ 325000 h 606722"/>
              <a:gd name="T33" fmla="*/ 325000 h 606722"/>
              <a:gd name="T34" fmla="*/ 325000 h 606722"/>
              <a:gd name="T35" fmla="*/ 325000 h 606722"/>
              <a:gd name="T36" fmla="*/ 325000 h 606722"/>
              <a:gd name="T37" fmla="*/ 325000 h 606722"/>
              <a:gd name="T38" fmla="*/ 325000 h 606722"/>
              <a:gd name="T39" fmla="*/ 325000 h 606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400" h="4406">
                <a:moveTo>
                  <a:pt x="4331" y="55"/>
                </a:moveTo>
                <a:cubicBezTo>
                  <a:pt x="4287" y="17"/>
                  <a:pt x="4229" y="0"/>
                  <a:pt x="4172" y="8"/>
                </a:cubicBezTo>
                <a:lnTo>
                  <a:pt x="1372" y="408"/>
                </a:lnTo>
                <a:cubicBezTo>
                  <a:pt x="1273" y="422"/>
                  <a:pt x="1200" y="506"/>
                  <a:pt x="1200" y="606"/>
                </a:cubicBezTo>
                <a:lnTo>
                  <a:pt x="1200" y="1406"/>
                </a:lnTo>
                <a:lnTo>
                  <a:pt x="1200" y="3038"/>
                </a:lnTo>
                <a:cubicBezTo>
                  <a:pt x="1082" y="2975"/>
                  <a:pt x="946" y="2939"/>
                  <a:pt x="800" y="2939"/>
                </a:cubicBezTo>
                <a:cubicBezTo>
                  <a:pt x="359" y="2939"/>
                  <a:pt x="0" y="3268"/>
                  <a:pt x="0" y="3673"/>
                </a:cubicBezTo>
                <a:cubicBezTo>
                  <a:pt x="0" y="4077"/>
                  <a:pt x="359" y="4406"/>
                  <a:pt x="800" y="4406"/>
                </a:cubicBezTo>
                <a:cubicBezTo>
                  <a:pt x="1241" y="4406"/>
                  <a:pt x="1600" y="4077"/>
                  <a:pt x="1600" y="3673"/>
                </a:cubicBezTo>
                <a:lnTo>
                  <a:pt x="1600" y="1579"/>
                </a:lnTo>
                <a:lnTo>
                  <a:pt x="4000" y="1237"/>
                </a:lnTo>
                <a:lnTo>
                  <a:pt x="4000" y="2705"/>
                </a:lnTo>
                <a:cubicBezTo>
                  <a:pt x="3882" y="2642"/>
                  <a:pt x="3746" y="2606"/>
                  <a:pt x="3600" y="2606"/>
                </a:cubicBezTo>
                <a:cubicBezTo>
                  <a:pt x="3159" y="2606"/>
                  <a:pt x="2800" y="2935"/>
                  <a:pt x="2800" y="3339"/>
                </a:cubicBezTo>
                <a:cubicBezTo>
                  <a:pt x="2800" y="3744"/>
                  <a:pt x="3159" y="4073"/>
                  <a:pt x="3600" y="4073"/>
                </a:cubicBezTo>
                <a:cubicBezTo>
                  <a:pt x="4041" y="4073"/>
                  <a:pt x="4400" y="3744"/>
                  <a:pt x="4400" y="3339"/>
                </a:cubicBezTo>
                <a:lnTo>
                  <a:pt x="4400" y="1006"/>
                </a:lnTo>
                <a:lnTo>
                  <a:pt x="4400" y="206"/>
                </a:lnTo>
                <a:cubicBezTo>
                  <a:pt x="4400" y="148"/>
                  <a:pt x="4375" y="93"/>
                  <a:pt x="4331" y="5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31" name="PA-demisemiquaver_153783">
            <a:extLst>
              <a:ext uri="{FF2B5EF4-FFF2-40B4-BE49-F238E27FC236}">
                <a16:creationId xmlns:a16="http://schemas.microsoft.com/office/drawing/2014/main" id="{BC41DF35-5E9F-4F5C-9C07-6FF1C8780B7B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 bwMode="auto">
          <a:xfrm>
            <a:off x="4059647" y="3435980"/>
            <a:ext cx="225076" cy="224997"/>
          </a:xfrm>
          <a:custGeom>
            <a:avLst/>
            <a:gdLst>
              <a:gd name="T0" fmla="*/ 325000 h 606722"/>
              <a:gd name="T1" fmla="*/ 325000 h 606722"/>
              <a:gd name="T2" fmla="*/ 325000 h 606722"/>
              <a:gd name="T3" fmla="*/ 325000 h 606722"/>
              <a:gd name="T4" fmla="*/ 325000 h 606722"/>
              <a:gd name="T5" fmla="*/ 325000 h 606722"/>
              <a:gd name="T6" fmla="*/ 325000 h 606722"/>
              <a:gd name="T7" fmla="*/ 325000 h 606722"/>
              <a:gd name="T8" fmla="*/ 325000 h 606722"/>
              <a:gd name="T9" fmla="*/ 325000 h 606722"/>
              <a:gd name="T10" fmla="*/ 325000 h 606722"/>
              <a:gd name="T11" fmla="*/ 325000 h 606722"/>
              <a:gd name="T12" fmla="*/ 325000 h 606722"/>
              <a:gd name="T13" fmla="*/ 325000 h 606722"/>
              <a:gd name="T14" fmla="*/ 325000 h 606722"/>
              <a:gd name="T15" fmla="*/ 325000 h 606722"/>
              <a:gd name="T16" fmla="*/ 325000 h 606722"/>
              <a:gd name="T17" fmla="*/ 325000 h 606722"/>
              <a:gd name="T18" fmla="*/ 325000 h 606722"/>
              <a:gd name="T19" fmla="*/ 325000 h 606722"/>
              <a:gd name="T20" fmla="*/ 325000 h 606722"/>
              <a:gd name="T21" fmla="*/ 325000 h 606722"/>
              <a:gd name="T22" fmla="*/ 325000 h 606722"/>
              <a:gd name="T23" fmla="*/ 325000 h 606722"/>
              <a:gd name="T24" fmla="*/ 325000 h 606722"/>
              <a:gd name="T25" fmla="*/ 325000 h 606722"/>
              <a:gd name="T26" fmla="*/ 325000 h 606722"/>
              <a:gd name="T27" fmla="*/ 325000 h 606722"/>
              <a:gd name="T28" fmla="*/ 325000 h 606722"/>
              <a:gd name="T29" fmla="*/ 325000 h 606722"/>
              <a:gd name="T30" fmla="*/ 325000 h 606722"/>
              <a:gd name="T31" fmla="*/ 325000 h 606722"/>
              <a:gd name="T32" fmla="*/ 325000 h 606722"/>
              <a:gd name="T33" fmla="*/ 325000 h 606722"/>
              <a:gd name="T34" fmla="*/ 325000 h 606722"/>
              <a:gd name="T35" fmla="*/ 325000 h 606722"/>
              <a:gd name="T36" fmla="*/ 325000 h 606722"/>
              <a:gd name="T37" fmla="*/ 325000 h 606722"/>
              <a:gd name="T38" fmla="*/ 325000 h 606722"/>
              <a:gd name="T39" fmla="*/ 325000 h 606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400" h="4406">
                <a:moveTo>
                  <a:pt x="4331" y="55"/>
                </a:moveTo>
                <a:cubicBezTo>
                  <a:pt x="4287" y="17"/>
                  <a:pt x="4229" y="0"/>
                  <a:pt x="4172" y="8"/>
                </a:cubicBezTo>
                <a:lnTo>
                  <a:pt x="1372" y="408"/>
                </a:lnTo>
                <a:cubicBezTo>
                  <a:pt x="1273" y="422"/>
                  <a:pt x="1200" y="506"/>
                  <a:pt x="1200" y="606"/>
                </a:cubicBezTo>
                <a:lnTo>
                  <a:pt x="1200" y="1406"/>
                </a:lnTo>
                <a:lnTo>
                  <a:pt x="1200" y="3038"/>
                </a:lnTo>
                <a:cubicBezTo>
                  <a:pt x="1082" y="2975"/>
                  <a:pt x="946" y="2939"/>
                  <a:pt x="800" y="2939"/>
                </a:cubicBezTo>
                <a:cubicBezTo>
                  <a:pt x="359" y="2939"/>
                  <a:pt x="0" y="3268"/>
                  <a:pt x="0" y="3673"/>
                </a:cubicBezTo>
                <a:cubicBezTo>
                  <a:pt x="0" y="4077"/>
                  <a:pt x="359" y="4406"/>
                  <a:pt x="800" y="4406"/>
                </a:cubicBezTo>
                <a:cubicBezTo>
                  <a:pt x="1241" y="4406"/>
                  <a:pt x="1600" y="4077"/>
                  <a:pt x="1600" y="3673"/>
                </a:cubicBezTo>
                <a:lnTo>
                  <a:pt x="1600" y="1579"/>
                </a:lnTo>
                <a:lnTo>
                  <a:pt x="4000" y="1237"/>
                </a:lnTo>
                <a:lnTo>
                  <a:pt x="4000" y="2705"/>
                </a:lnTo>
                <a:cubicBezTo>
                  <a:pt x="3882" y="2642"/>
                  <a:pt x="3746" y="2606"/>
                  <a:pt x="3600" y="2606"/>
                </a:cubicBezTo>
                <a:cubicBezTo>
                  <a:pt x="3159" y="2606"/>
                  <a:pt x="2800" y="2935"/>
                  <a:pt x="2800" y="3339"/>
                </a:cubicBezTo>
                <a:cubicBezTo>
                  <a:pt x="2800" y="3744"/>
                  <a:pt x="3159" y="4073"/>
                  <a:pt x="3600" y="4073"/>
                </a:cubicBezTo>
                <a:cubicBezTo>
                  <a:pt x="4041" y="4073"/>
                  <a:pt x="4400" y="3744"/>
                  <a:pt x="4400" y="3339"/>
                </a:cubicBezTo>
                <a:lnTo>
                  <a:pt x="4400" y="1006"/>
                </a:lnTo>
                <a:lnTo>
                  <a:pt x="4400" y="206"/>
                </a:lnTo>
                <a:cubicBezTo>
                  <a:pt x="4400" y="148"/>
                  <a:pt x="4375" y="93"/>
                  <a:pt x="4331" y="5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32" name="PA-demisemiquaver_153783">
            <a:extLst>
              <a:ext uri="{FF2B5EF4-FFF2-40B4-BE49-F238E27FC236}">
                <a16:creationId xmlns:a16="http://schemas.microsoft.com/office/drawing/2014/main" id="{7BF23FEE-0299-4416-9D65-DF45B19C5028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 bwMode="auto">
          <a:xfrm>
            <a:off x="4124669" y="2016511"/>
            <a:ext cx="281567" cy="281468"/>
          </a:xfrm>
          <a:custGeom>
            <a:avLst/>
            <a:gdLst>
              <a:gd name="T0" fmla="*/ 325000 h 606722"/>
              <a:gd name="T1" fmla="*/ 325000 h 606722"/>
              <a:gd name="T2" fmla="*/ 325000 h 606722"/>
              <a:gd name="T3" fmla="*/ 325000 h 606722"/>
              <a:gd name="T4" fmla="*/ 325000 h 606722"/>
              <a:gd name="T5" fmla="*/ 325000 h 606722"/>
              <a:gd name="T6" fmla="*/ 325000 h 606722"/>
              <a:gd name="T7" fmla="*/ 325000 h 606722"/>
              <a:gd name="T8" fmla="*/ 325000 h 606722"/>
              <a:gd name="T9" fmla="*/ 325000 h 606722"/>
              <a:gd name="T10" fmla="*/ 325000 h 606722"/>
              <a:gd name="T11" fmla="*/ 325000 h 606722"/>
              <a:gd name="T12" fmla="*/ 325000 h 606722"/>
              <a:gd name="T13" fmla="*/ 325000 h 606722"/>
              <a:gd name="T14" fmla="*/ 325000 h 606722"/>
              <a:gd name="T15" fmla="*/ 325000 h 606722"/>
              <a:gd name="T16" fmla="*/ 325000 h 606722"/>
              <a:gd name="T17" fmla="*/ 325000 h 606722"/>
              <a:gd name="T18" fmla="*/ 325000 h 606722"/>
              <a:gd name="T19" fmla="*/ 325000 h 606722"/>
              <a:gd name="T20" fmla="*/ 325000 h 606722"/>
              <a:gd name="T21" fmla="*/ 325000 h 606722"/>
              <a:gd name="T22" fmla="*/ 325000 h 606722"/>
              <a:gd name="T23" fmla="*/ 325000 h 606722"/>
              <a:gd name="T24" fmla="*/ 325000 h 606722"/>
              <a:gd name="T25" fmla="*/ 325000 h 606722"/>
              <a:gd name="T26" fmla="*/ 325000 h 606722"/>
              <a:gd name="T27" fmla="*/ 325000 h 606722"/>
              <a:gd name="T28" fmla="*/ 325000 h 606722"/>
              <a:gd name="T29" fmla="*/ 325000 h 606722"/>
              <a:gd name="T30" fmla="*/ 325000 h 606722"/>
              <a:gd name="T31" fmla="*/ 325000 h 606722"/>
              <a:gd name="T32" fmla="*/ 325000 h 606722"/>
              <a:gd name="T33" fmla="*/ 325000 h 606722"/>
              <a:gd name="T34" fmla="*/ 325000 h 606722"/>
              <a:gd name="T35" fmla="*/ 325000 h 606722"/>
              <a:gd name="T36" fmla="*/ 325000 h 606722"/>
              <a:gd name="T37" fmla="*/ 325000 h 606722"/>
              <a:gd name="T38" fmla="*/ 325000 h 606722"/>
              <a:gd name="T39" fmla="*/ 325000 h 606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400" h="4406">
                <a:moveTo>
                  <a:pt x="4331" y="55"/>
                </a:moveTo>
                <a:cubicBezTo>
                  <a:pt x="4287" y="17"/>
                  <a:pt x="4229" y="0"/>
                  <a:pt x="4172" y="8"/>
                </a:cubicBezTo>
                <a:lnTo>
                  <a:pt x="1372" y="408"/>
                </a:lnTo>
                <a:cubicBezTo>
                  <a:pt x="1273" y="422"/>
                  <a:pt x="1200" y="506"/>
                  <a:pt x="1200" y="606"/>
                </a:cubicBezTo>
                <a:lnTo>
                  <a:pt x="1200" y="1406"/>
                </a:lnTo>
                <a:lnTo>
                  <a:pt x="1200" y="3038"/>
                </a:lnTo>
                <a:cubicBezTo>
                  <a:pt x="1082" y="2975"/>
                  <a:pt x="946" y="2939"/>
                  <a:pt x="800" y="2939"/>
                </a:cubicBezTo>
                <a:cubicBezTo>
                  <a:pt x="359" y="2939"/>
                  <a:pt x="0" y="3268"/>
                  <a:pt x="0" y="3673"/>
                </a:cubicBezTo>
                <a:cubicBezTo>
                  <a:pt x="0" y="4077"/>
                  <a:pt x="359" y="4406"/>
                  <a:pt x="800" y="4406"/>
                </a:cubicBezTo>
                <a:cubicBezTo>
                  <a:pt x="1241" y="4406"/>
                  <a:pt x="1600" y="4077"/>
                  <a:pt x="1600" y="3673"/>
                </a:cubicBezTo>
                <a:lnTo>
                  <a:pt x="1600" y="1579"/>
                </a:lnTo>
                <a:lnTo>
                  <a:pt x="4000" y="1237"/>
                </a:lnTo>
                <a:lnTo>
                  <a:pt x="4000" y="2705"/>
                </a:lnTo>
                <a:cubicBezTo>
                  <a:pt x="3882" y="2642"/>
                  <a:pt x="3746" y="2606"/>
                  <a:pt x="3600" y="2606"/>
                </a:cubicBezTo>
                <a:cubicBezTo>
                  <a:pt x="3159" y="2606"/>
                  <a:pt x="2800" y="2935"/>
                  <a:pt x="2800" y="3339"/>
                </a:cubicBezTo>
                <a:cubicBezTo>
                  <a:pt x="2800" y="3744"/>
                  <a:pt x="3159" y="4073"/>
                  <a:pt x="3600" y="4073"/>
                </a:cubicBezTo>
                <a:cubicBezTo>
                  <a:pt x="4041" y="4073"/>
                  <a:pt x="4400" y="3744"/>
                  <a:pt x="4400" y="3339"/>
                </a:cubicBezTo>
                <a:lnTo>
                  <a:pt x="4400" y="1006"/>
                </a:lnTo>
                <a:lnTo>
                  <a:pt x="4400" y="206"/>
                </a:lnTo>
                <a:cubicBezTo>
                  <a:pt x="4400" y="148"/>
                  <a:pt x="4375" y="93"/>
                  <a:pt x="4331" y="5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2" name="PA-组合 28">
            <a:extLst>
              <a:ext uri="{FF2B5EF4-FFF2-40B4-BE49-F238E27FC236}">
                <a16:creationId xmlns:a16="http://schemas.microsoft.com/office/drawing/2014/main" id="{D6D4F3C6-62BE-406A-94F2-79A150D70068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793935" y="1419056"/>
            <a:ext cx="4656839" cy="4656839"/>
            <a:chOff x="1815157" y="1345388"/>
            <a:chExt cx="4656839" cy="4656839"/>
          </a:xfrm>
          <a:effectLst>
            <a:outerShdw blurRad="127000" dist="38100" dir="2700000" algn="tl" rotWithShape="0">
              <a:schemeClr val="accent1">
                <a:alpha val="40000"/>
              </a:schemeClr>
            </a:outerShdw>
          </a:effectLst>
        </p:grpSpPr>
        <p:sp>
          <p:nvSpPr>
            <p:cNvPr id="113" name="PA-椭圆 11">
              <a:extLst>
                <a:ext uri="{FF2B5EF4-FFF2-40B4-BE49-F238E27FC236}">
                  <a16:creationId xmlns:a16="http://schemas.microsoft.com/office/drawing/2014/main" id="{5DCCA8DD-CA82-44B4-B2DC-A6049DC79CC4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815157" y="1345388"/>
              <a:ext cx="4656839" cy="4656839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pic>
          <p:nvPicPr>
            <p:cNvPr id="114" name="PA-图片 12">
              <a:extLst>
                <a:ext uri="{FF2B5EF4-FFF2-40B4-BE49-F238E27FC236}">
                  <a16:creationId xmlns:a16="http://schemas.microsoft.com/office/drawing/2014/main" id="{B7363CC8-5952-4E86-9DE8-67B5C672C321}"/>
                </a:ext>
              </a:extLst>
            </p:cNvPr>
            <p:cNvPicPr/>
            <p:nvPr>
              <p:custDataLst>
                <p:tags r:id="rId10"/>
              </p:custDataLst>
            </p:nvPr>
          </p:nvPicPr>
          <p:blipFill rotWithShape="1"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23577" y="2053808"/>
              <a:ext cx="3240000" cy="3240000"/>
            </a:xfrm>
            <a:prstGeom prst="ellipse">
              <a:avLst/>
            </a:prstGeom>
            <a:noFill/>
            <a:ln w="9525">
              <a:noFill/>
            </a:ln>
            <a:effectLst>
              <a:outerShdw blurRad="1270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15" name="矩形 114">
            <a:extLst>
              <a:ext uri="{FF2B5EF4-FFF2-40B4-BE49-F238E27FC236}">
                <a16:creationId xmlns:a16="http://schemas.microsoft.com/office/drawing/2014/main" id="{F4E9A65E-714B-45D3-9CAF-91FA6A62D093}"/>
              </a:ext>
            </a:extLst>
          </p:cNvPr>
          <p:cNvSpPr/>
          <p:nvPr userDrawn="1"/>
        </p:nvSpPr>
        <p:spPr>
          <a:xfrm rot="20075021">
            <a:off x="140281" y="2707649"/>
            <a:ext cx="101301" cy="114501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16" name="组合 115">
            <a:extLst>
              <a:ext uri="{FF2B5EF4-FFF2-40B4-BE49-F238E27FC236}">
                <a16:creationId xmlns:a16="http://schemas.microsoft.com/office/drawing/2014/main" id="{4C9DEE94-AD18-4840-AA02-83D0ED635026}"/>
              </a:ext>
            </a:extLst>
          </p:cNvPr>
          <p:cNvGrpSpPr/>
          <p:nvPr userDrawn="1"/>
        </p:nvGrpSpPr>
        <p:grpSpPr>
          <a:xfrm>
            <a:off x="405659" y="3656618"/>
            <a:ext cx="978402" cy="390639"/>
            <a:chOff x="1319024" y="3614377"/>
            <a:chExt cx="978402" cy="390639"/>
          </a:xfrm>
        </p:grpSpPr>
        <p:sp>
          <p:nvSpPr>
            <p:cNvPr id="117" name="矩形: 圆角 116">
              <a:extLst>
                <a:ext uri="{FF2B5EF4-FFF2-40B4-BE49-F238E27FC236}">
                  <a16:creationId xmlns:a16="http://schemas.microsoft.com/office/drawing/2014/main" id="{AFBD4247-44CF-404D-82F0-01ACC0535EFB}"/>
                </a:ext>
              </a:extLst>
            </p:cNvPr>
            <p:cNvSpPr/>
            <p:nvPr/>
          </p:nvSpPr>
          <p:spPr>
            <a:xfrm rot="348119" flipH="1">
              <a:off x="1319024" y="3684806"/>
              <a:ext cx="539427" cy="100800"/>
            </a:xfrm>
            <a:prstGeom prst="round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grpSp>
          <p:nvGrpSpPr>
            <p:cNvPr id="118" name="组合 117">
              <a:extLst>
                <a:ext uri="{FF2B5EF4-FFF2-40B4-BE49-F238E27FC236}">
                  <a16:creationId xmlns:a16="http://schemas.microsoft.com/office/drawing/2014/main" id="{E427FDEA-2821-40D7-A800-32841C5775EE}"/>
                </a:ext>
              </a:extLst>
            </p:cNvPr>
            <p:cNvGrpSpPr/>
            <p:nvPr/>
          </p:nvGrpSpPr>
          <p:grpSpPr>
            <a:xfrm rot="20360457">
              <a:off x="1833874" y="3614377"/>
              <a:ext cx="463552" cy="390639"/>
              <a:chOff x="4562461" y="2905072"/>
              <a:chExt cx="796664" cy="671357"/>
            </a:xfrm>
          </p:grpSpPr>
          <p:sp>
            <p:nvSpPr>
              <p:cNvPr id="121" name="矩形: 圆角 120">
                <a:extLst>
                  <a:ext uri="{FF2B5EF4-FFF2-40B4-BE49-F238E27FC236}">
                    <a16:creationId xmlns:a16="http://schemas.microsoft.com/office/drawing/2014/main" id="{29165F8C-AA79-4658-AABE-C6C3813232F3}"/>
                  </a:ext>
                </a:extLst>
              </p:cNvPr>
              <p:cNvSpPr/>
              <p:nvPr/>
            </p:nvSpPr>
            <p:spPr>
              <a:xfrm rot="1367580">
                <a:off x="4562461" y="2947079"/>
                <a:ext cx="673241" cy="349751"/>
              </a:xfrm>
              <a:prstGeom prst="roundRect">
                <a:avLst>
                  <a:gd name="adj" fmla="val 2785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22" name="矩形: 圆角 121">
                <a:extLst>
                  <a:ext uri="{FF2B5EF4-FFF2-40B4-BE49-F238E27FC236}">
                    <a16:creationId xmlns:a16="http://schemas.microsoft.com/office/drawing/2014/main" id="{3C6CD840-3199-48F5-8387-6CBFD6748ABD}"/>
                  </a:ext>
                </a:extLst>
              </p:cNvPr>
              <p:cNvSpPr/>
              <p:nvPr/>
            </p:nvSpPr>
            <p:spPr>
              <a:xfrm rot="1367580">
                <a:off x="5004454" y="2905072"/>
                <a:ext cx="354671" cy="671357"/>
              </a:xfrm>
              <a:prstGeom prst="roundRect">
                <a:avLst>
                  <a:gd name="adj" fmla="val 2785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cxnSp>
          <p:nvCxnSpPr>
            <p:cNvPr id="119" name="直接连接符 118">
              <a:extLst>
                <a:ext uri="{FF2B5EF4-FFF2-40B4-BE49-F238E27FC236}">
                  <a16:creationId xmlns:a16="http://schemas.microsoft.com/office/drawing/2014/main" id="{79401041-57E5-4E48-A732-C86B372938C8}"/>
                </a:ext>
              </a:extLst>
            </p:cNvPr>
            <p:cNvCxnSpPr>
              <a:cxnSpLocks/>
            </p:cNvCxnSpPr>
            <p:nvPr/>
          </p:nvCxnSpPr>
          <p:spPr>
            <a:xfrm rot="20360457">
              <a:off x="2130190" y="3692023"/>
              <a:ext cx="111985" cy="47910"/>
            </a:xfrm>
            <a:prstGeom prst="line">
              <a:avLst/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直接连接符 119">
              <a:extLst>
                <a:ext uri="{FF2B5EF4-FFF2-40B4-BE49-F238E27FC236}">
                  <a16:creationId xmlns:a16="http://schemas.microsoft.com/office/drawing/2014/main" id="{C7B723E5-2C85-4ED0-B8AE-10E080C12A67}"/>
                </a:ext>
              </a:extLst>
            </p:cNvPr>
            <p:cNvCxnSpPr>
              <a:cxnSpLocks/>
            </p:cNvCxnSpPr>
            <p:nvPr/>
          </p:nvCxnSpPr>
          <p:spPr>
            <a:xfrm rot="20360457">
              <a:off x="2130094" y="3794966"/>
              <a:ext cx="111985" cy="47910"/>
            </a:xfrm>
            <a:prstGeom prst="line">
              <a:avLst/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组合 122">
            <a:extLst>
              <a:ext uri="{FF2B5EF4-FFF2-40B4-BE49-F238E27FC236}">
                <a16:creationId xmlns:a16="http://schemas.microsoft.com/office/drawing/2014/main" id="{12F2B159-2405-4C07-BEA9-32DF577B7DA4}"/>
              </a:ext>
            </a:extLst>
          </p:cNvPr>
          <p:cNvGrpSpPr/>
          <p:nvPr userDrawn="1"/>
        </p:nvGrpSpPr>
        <p:grpSpPr>
          <a:xfrm>
            <a:off x="-260480" y="2655812"/>
            <a:ext cx="498803" cy="498803"/>
            <a:chOff x="1868826" y="-564674"/>
            <a:chExt cx="574344" cy="574344"/>
          </a:xfrm>
        </p:grpSpPr>
        <p:sp>
          <p:nvSpPr>
            <p:cNvPr id="124" name="椭圆 123">
              <a:extLst>
                <a:ext uri="{FF2B5EF4-FFF2-40B4-BE49-F238E27FC236}">
                  <a16:creationId xmlns:a16="http://schemas.microsoft.com/office/drawing/2014/main" id="{9432A07B-FFCC-4159-B221-4623CA410CF5}"/>
                </a:ext>
              </a:extLst>
            </p:cNvPr>
            <p:cNvSpPr/>
            <p:nvPr/>
          </p:nvSpPr>
          <p:spPr>
            <a:xfrm>
              <a:off x="1868826" y="-564674"/>
              <a:ext cx="574344" cy="57434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25" name="椭圆 124">
              <a:extLst>
                <a:ext uri="{FF2B5EF4-FFF2-40B4-BE49-F238E27FC236}">
                  <a16:creationId xmlns:a16="http://schemas.microsoft.com/office/drawing/2014/main" id="{5D2BB441-637E-452C-9984-93B0888A0817}"/>
                </a:ext>
              </a:extLst>
            </p:cNvPr>
            <p:cNvSpPr/>
            <p:nvPr/>
          </p:nvSpPr>
          <p:spPr>
            <a:xfrm>
              <a:off x="1967287" y="-466214"/>
              <a:ext cx="377422" cy="377422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7" name="图片占位符 6">
            <a:extLst>
              <a:ext uri="{FF2B5EF4-FFF2-40B4-BE49-F238E27FC236}">
                <a16:creationId xmlns:a16="http://schemas.microsoft.com/office/drawing/2014/main" id="{B73EFF12-F9CB-45FD-A45D-D96D9B0C06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02355" y="2127476"/>
            <a:ext cx="3240000" cy="3240000"/>
          </a:xfrm>
          <a:prstGeom prst="ellipse">
            <a:avLst/>
          </a:prstGeom>
          <a:solidFill>
            <a:srgbClr val="00B0F0"/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162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6" dur="20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8" dur="2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53" presetClass="entr" presetSubtype="16" repeatCount="indefinite" fill="hold" nodeType="withEffect">
                                  <p:stCondLst>
                                    <p:cond delay="1526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 from="" to="">
                                        <p:cTn id="1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1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1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53" presetClass="entr" presetSubtype="16" repeatCount="indefinite" fill="hold" nodeType="withEffect">
                                  <p:stCondLst>
                                    <p:cond delay="518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 from="" to="">
                                        <p:cTn id="2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2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2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53" presetClass="entr" presetSubtype="16" repeatCount="indefinite" fill="hold" nodeType="withEffect">
                                  <p:stCondLst>
                                    <p:cond delay="2515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 from="" to="">
                                        <p:cTn id="3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3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3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53" presetClass="entr" presetSubtype="16" repeatCount="indefinite" fill="hold" nodeType="withEffect">
                                  <p:stCondLst>
                                    <p:cond delay="1099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 from="" to="">
                                        <p:cTn id="4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4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4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53" presetClass="entr" presetSubtype="16" repeatCount="indefinite" fill="hold" nodeType="withEffect">
                                  <p:stCondLst>
                                    <p:cond delay="742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 from="" to="">
                                        <p:cTn id="5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5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5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53" presetClass="entr" presetSubtype="16" repeatCount="indefinite" fill="hold" nodeType="withEffect">
                                  <p:stCondLst>
                                    <p:cond delay="955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 from="" to="">
                                        <p:cTn id="6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6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6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53" presetClass="entr" presetSubtype="16" repeatCount="indefinite" fill="hold" nodeType="withEffect">
                                  <p:stCondLst>
                                    <p:cond delay="36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 from="" to="">
                                        <p:cTn id="7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7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7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89953A6-2B57-42D1-AF89-082242695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C336E4A-7D4C-482D-8276-0522E8E451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974EF1F-28E2-46E1-8A56-BBE447A6674C}"/>
              </a:ext>
            </a:extLst>
          </p:cNvPr>
          <p:cNvCxnSpPr>
            <a:cxnSpLocks/>
          </p:cNvCxnSpPr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A019727B-0D1A-46E3-9E40-C8600878E173}"/>
              </a:ext>
            </a:extLst>
          </p:cNvPr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40B1589B-ABE0-4076-86B4-E07E19C5D109}"/>
              </a:ext>
            </a:extLst>
          </p:cNvPr>
          <p:cNvCxnSpPr>
            <a:cxnSpLocks/>
          </p:cNvCxnSpPr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C214074-2522-4AFE-8AC4-E814F531D97F}"/>
              </a:ext>
            </a:extLst>
          </p:cNvPr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F71D51F-85E7-49A7-95BA-ECE1AA577879}"/>
              </a:ext>
            </a:extLst>
          </p:cNvPr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27A56ED9-A904-42F8-BD04-2131FE81539A}"/>
                </a:ext>
              </a:extLst>
            </p:cNvPr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149ABB15-E739-44FB-85B9-90545F8DF67E}"/>
                </a:ext>
              </a:extLst>
            </p:cNvPr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>
            <a:extLst>
              <a:ext uri="{FF2B5EF4-FFF2-40B4-BE49-F238E27FC236}">
                <a16:creationId xmlns:a16="http://schemas.microsoft.com/office/drawing/2014/main" id="{1D0C0689-3F81-4B61-81A0-5E95ED7F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>
            <a:extLst>
              <a:ext uri="{FF2B5EF4-FFF2-40B4-BE49-F238E27FC236}">
                <a16:creationId xmlns:a16="http://schemas.microsoft.com/office/drawing/2014/main" id="{89CC42FF-8C6D-478B-94CF-16C20DB99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8EB2A82-A755-46F1-97B8-45AB2D5226DC}"/>
              </a:ext>
            </a:extLst>
          </p:cNvPr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D8F62463-3B27-4EFC-ABCE-4D02F165A9B3}"/>
              </a:ext>
            </a:extLst>
          </p:cNvPr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3B26B5D-51DC-4990-8897-880250E2C0CE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C0BA8BFA-2DE3-4EFC-9AFA-03E28AF2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A386023F-6427-498E-ACB1-AC93277A5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B2C7BFEF-8364-415C-8245-EB1F4011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858A3668-6B87-45CF-8C70-6C41B9950063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>
                <a:extLst>
                  <a:ext uri="{FF2B5EF4-FFF2-40B4-BE49-F238E27FC236}">
                    <a16:creationId xmlns:a16="http://schemas.microsoft.com/office/drawing/2014/main" id="{61E15804-E42C-4953-97C8-7B310F035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918BAA87-7230-42E0-A453-32CEC096B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C6D24AEA-95C3-4963-95BD-BB0A67709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37D28DE3-FE4E-4610-9F24-C7500F40D294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>
                <a:extLst>
                  <a:ext uri="{FF2B5EF4-FFF2-40B4-BE49-F238E27FC236}">
                    <a16:creationId xmlns:a16="http://schemas.microsoft.com/office/drawing/2014/main" id="{D58278D3-0A73-4D96-9FA5-63C0C7D5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A5F6F958-8D4B-4169-AD53-6EE9FFD8E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2">
                <a:extLst>
                  <a:ext uri="{FF2B5EF4-FFF2-40B4-BE49-F238E27FC236}">
                    <a16:creationId xmlns:a16="http://schemas.microsoft.com/office/drawing/2014/main" id="{A30B99AB-302B-4768-A19F-8786842D4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44C6DC20-9605-41BA-9176-898D6F7E4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CFCE5896-586E-4597-9D9A-2D1254040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557D2196-6FB4-4DE3-80EC-258C0CE8D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C63469F9-8304-4FE4-ACA9-0F242A1D1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18">
              <a:extLst>
                <a:ext uri="{FF2B5EF4-FFF2-40B4-BE49-F238E27FC236}">
                  <a16:creationId xmlns:a16="http://schemas.microsoft.com/office/drawing/2014/main" id="{7620820F-0272-413D-B555-7E64AF377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E77E1F8D-CDD0-4EAE-ABD9-43D802605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51ED7350-89A0-47D2-85FC-FE098DCB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E2DD9C10-8690-44A1-A5F8-7A0ED8A76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113D02D4-8F23-4491-97D2-93616716B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8E918A14-7620-4D8D-80A0-6E90BF1A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4DD7A7FF-514A-4E24-B1A6-0F0D16A0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339905F6-AA23-488C-A1FE-0345E8BA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5D59E8B6-DE05-4F15-9289-E55B826BC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68BC93DE-9201-4DB9-A051-D65A9CD7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0949379B-8743-4D96-86AF-D9023B8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D111458-826B-4A33-A394-65488116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6EF96073-C0CB-41D8-B3B3-24E29D10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1">
              <a:extLst>
                <a:ext uri="{FF2B5EF4-FFF2-40B4-BE49-F238E27FC236}">
                  <a16:creationId xmlns:a16="http://schemas.microsoft.com/office/drawing/2014/main" id="{01480229-BF49-42B5-A4A0-031AEE450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2">
              <a:extLst>
                <a:ext uri="{FF2B5EF4-FFF2-40B4-BE49-F238E27FC236}">
                  <a16:creationId xmlns:a16="http://schemas.microsoft.com/office/drawing/2014/main" id="{8DAE5DFD-F331-49CF-99A4-246B623E3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38CC4A63-C40A-4645-AD00-C362400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">
              <a:extLst>
                <a:ext uri="{FF2B5EF4-FFF2-40B4-BE49-F238E27FC236}">
                  <a16:creationId xmlns:a16="http://schemas.microsoft.com/office/drawing/2014/main" id="{F705F456-72BB-40D4-8DFA-D2F448E19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5">
              <a:extLst>
                <a:ext uri="{FF2B5EF4-FFF2-40B4-BE49-F238E27FC236}">
                  <a16:creationId xmlns:a16="http://schemas.microsoft.com/office/drawing/2014/main" id="{CF80DCE3-544C-40B6-B073-BD6FBCBD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34CF44DE-6759-432F-ACDD-BD791DFF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1C36FB9B-9A3C-43BA-A958-F123B950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>
              <a:extLst>
                <a:ext uri="{FF2B5EF4-FFF2-40B4-BE49-F238E27FC236}">
                  <a16:creationId xmlns:a16="http://schemas.microsoft.com/office/drawing/2014/main" id="{97D9C9AE-9A64-48CA-AA7F-32DF7E418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>
              <a:extLst>
                <a:ext uri="{FF2B5EF4-FFF2-40B4-BE49-F238E27FC236}">
                  <a16:creationId xmlns:a16="http://schemas.microsoft.com/office/drawing/2014/main" id="{185BDA1B-871B-4A76-BACB-B8BF1067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>
              <a:extLst>
                <a:ext uri="{FF2B5EF4-FFF2-40B4-BE49-F238E27FC236}">
                  <a16:creationId xmlns:a16="http://schemas.microsoft.com/office/drawing/2014/main" id="{227AF718-56A3-4058-87AA-8D1668DA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>
              <a:extLst>
                <a:ext uri="{FF2B5EF4-FFF2-40B4-BE49-F238E27FC236}">
                  <a16:creationId xmlns:a16="http://schemas.microsoft.com/office/drawing/2014/main" id="{E7C6D8ED-3B73-4F8C-93AC-B16B16E9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2">
              <a:extLst>
                <a:ext uri="{FF2B5EF4-FFF2-40B4-BE49-F238E27FC236}">
                  <a16:creationId xmlns:a16="http://schemas.microsoft.com/office/drawing/2014/main" id="{B04FE5C2-6441-4732-AAB8-BC72B08F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3">
              <a:extLst>
                <a:ext uri="{FF2B5EF4-FFF2-40B4-BE49-F238E27FC236}">
                  <a16:creationId xmlns:a16="http://schemas.microsoft.com/office/drawing/2014/main" id="{5B58BDCE-B89C-4023-BDA3-EFB828C0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4">
              <a:extLst>
                <a:ext uri="{FF2B5EF4-FFF2-40B4-BE49-F238E27FC236}">
                  <a16:creationId xmlns:a16="http://schemas.microsoft.com/office/drawing/2014/main" id="{8F2C9735-A193-4383-A86B-E69F3D42F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760CFE8C-0DD3-4D23-A0E5-8737A4650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88D64AB5-ED2D-4F31-9185-45AD4B0F5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7">
              <a:extLst>
                <a:ext uri="{FF2B5EF4-FFF2-40B4-BE49-F238E27FC236}">
                  <a16:creationId xmlns:a16="http://schemas.microsoft.com/office/drawing/2014/main" id="{AE39E44E-199D-4BEE-A505-D82F1F5B8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8">
              <a:extLst>
                <a:ext uri="{FF2B5EF4-FFF2-40B4-BE49-F238E27FC236}">
                  <a16:creationId xmlns:a16="http://schemas.microsoft.com/office/drawing/2014/main" id="{AB86598A-ADC8-4DB1-AD1D-D26056847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9">
              <a:extLst>
                <a:ext uri="{FF2B5EF4-FFF2-40B4-BE49-F238E27FC236}">
                  <a16:creationId xmlns:a16="http://schemas.microsoft.com/office/drawing/2014/main" id="{E2309FBC-5A35-4015-B092-E726C16C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542B3E95-89C4-499D-A1C7-AB16A09AAB77}"/>
              </a:ext>
            </a:extLst>
          </p:cNvPr>
          <p:cNvGrpSpPr/>
          <p:nvPr userDrawn="1"/>
        </p:nvGrpSpPr>
        <p:grpSpPr>
          <a:xfrm>
            <a:off x="860868" y="1867401"/>
            <a:ext cx="3449449" cy="3356657"/>
            <a:chOff x="860868" y="1867401"/>
            <a:chExt cx="3449449" cy="3356657"/>
          </a:xfrm>
        </p:grpSpPr>
        <p:sp>
          <p:nvSpPr>
            <p:cNvPr id="113" name="椭圆 112">
              <a:extLst>
                <a:ext uri="{FF2B5EF4-FFF2-40B4-BE49-F238E27FC236}">
                  <a16:creationId xmlns:a16="http://schemas.microsoft.com/office/drawing/2014/main" id="{1D6A3F34-28FB-43FF-9DBF-450C826CF171}"/>
                </a:ext>
              </a:extLst>
            </p:cNvPr>
            <p:cNvSpPr/>
            <p:nvPr/>
          </p:nvSpPr>
          <p:spPr>
            <a:xfrm>
              <a:off x="1243026" y="1867401"/>
              <a:ext cx="3067291" cy="3067291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+mn-ea"/>
                <a:sym typeface="+mn-lt"/>
              </a:endParaRPr>
            </a:p>
          </p:txBody>
        </p:sp>
        <p:sp>
          <p:nvSpPr>
            <p:cNvPr id="114" name="椭圆 113">
              <a:extLst>
                <a:ext uri="{FF2B5EF4-FFF2-40B4-BE49-F238E27FC236}">
                  <a16:creationId xmlns:a16="http://schemas.microsoft.com/office/drawing/2014/main" id="{D608C77A-3467-412A-9811-48D23ED0680A}"/>
                </a:ext>
              </a:extLst>
            </p:cNvPr>
            <p:cNvSpPr/>
            <p:nvPr/>
          </p:nvSpPr>
          <p:spPr>
            <a:xfrm>
              <a:off x="1150428" y="2156767"/>
              <a:ext cx="3067291" cy="306729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+mn-ea"/>
                <a:sym typeface="+mn-lt"/>
              </a:endParaRPr>
            </a:p>
          </p:txBody>
        </p:sp>
        <p:sp>
          <p:nvSpPr>
            <p:cNvPr id="115" name="椭圆 114">
              <a:extLst>
                <a:ext uri="{FF2B5EF4-FFF2-40B4-BE49-F238E27FC236}">
                  <a16:creationId xmlns:a16="http://schemas.microsoft.com/office/drawing/2014/main" id="{05B381D7-F5DC-4DF8-AFF8-19F94A8ACECA}"/>
                </a:ext>
              </a:extLst>
            </p:cNvPr>
            <p:cNvSpPr/>
            <p:nvPr/>
          </p:nvSpPr>
          <p:spPr>
            <a:xfrm>
              <a:off x="860868" y="1890067"/>
              <a:ext cx="3067291" cy="3067291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+mn-ea"/>
                <a:sym typeface="+mn-lt"/>
              </a:endParaRPr>
            </a:p>
          </p:txBody>
        </p:sp>
      </p:grpSp>
      <p:sp>
        <p:nvSpPr>
          <p:cNvPr id="117" name="图片占位符 116">
            <a:extLst>
              <a:ext uri="{FF2B5EF4-FFF2-40B4-BE49-F238E27FC236}">
                <a16:creationId xmlns:a16="http://schemas.microsoft.com/office/drawing/2014/main" id="{6962482A-6BD9-4BCA-972F-FA6E541E63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27988" y="2053946"/>
            <a:ext cx="3068100" cy="3068100"/>
          </a:xfrm>
          <a:custGeom>
            <a:avLst/>
            <a:gdLst>
              <a:gd name="connsiteX0" fmla="*/ 1534050 w 3068100"/>
              <a:gd name="connsiteY0" fmla="*/ 0 h 3068100"/>
              <a:gd name="connsiteX1" fmla="*/ 3068100 w 3068100"/>
              <a:gd name="connsiteY1" fmla="*/ 1534050 h 3068100"/>
              <a:gd name="connsiteX2" fmla="*/ 1534050 w 3068100"/>
              <a:gd name="connsiteY2" fmla="*/ 3068100 h 3068100"/>
              <a:gd name="connsiteX3" fmla="*/ 0 w 3068100"/>
              <a:gd name="connsiteY3" fmla="*/ 1534050 h 3068100"/>
              <a:gd name="connsiteX4" fmla="*/ 1534050 w 3068100"/>
              <a:gd name="connsiteY4" fmla="*/ 0 h 306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8100" h="3068100">
                <a:moveTo>
                  <a:pt x="1534050" y="0"/>
                </a:moveTo>
                <a:cubicBezTo>
                  <a:pt x="2381282" y="0"/>
                  <a:pt x="3068100" y="686818"/>
                  <a:pt x="3068100" y="1534050"/>
                </a:cubicBezTo>
                <a:cubicBezTo>
                  <a:pt x="3068100" y="2381282"/>
                  <a:pt x="2381282" y="3068100"/>
                  <a:pt x="1534050" y="3068100"/>
                </a:cubicBezTo>
                <a:cubicBezTo>
                  <a:pt x="686818" y="3068100"/>
                  <a:pt x="0" y="2381282"/>
                  <a:pt x="0" y="1534050"/>
                </a:cubicBezTo>
                <a:cubicBezTo>
                  <a:pt x="0" y="686818"/>
                  <a:pt x="686818" y="0"/>
                  <a:pt x="1534050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2269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57431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2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图片 111">
            <a:extLst>
              <a:ext uri="{FF2B5EF4-FFF2-40B4-BE49-F238E27FC236}">
                <a16:creationId xmlns:a16="http://schemas.microsoft.com/office/drawing/2014/main" id="{634481CF-548A-49C5-BAFB-7B277B0CDC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86564" cy="4107180"/>
          </a:xfrm>
          <a:custGeom>
            <a:avLst/>
            <a:gdLst>
              <a:gd name="connsiteX0" fmla="*/ 0 w 12192000"/>
              <a:gd name="connsiteY0" fmla="*/ 0 h 4109012"/>
              <a:gd name="connsiteX1" fmla="*/ 12192000 w 12192000"/>
              <a:gd name="connsiteY1" fmla="*/ 0 h 4109012"/>
              <a:gd name="connsiteX2" fmla="*/ 12192000 w 12192000"/>
              <a:gd name="connsiteY2" fmla="*/ 4109012 h 4109012"/>
              <a:gd name="connsiteX3" fmla="*/ 0 w 12192000"/>
              <a:gd name="connsiteY3" fmla="*/ 4109012 h 410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109012">
                <a:moveTo>
                  <a:pt x="0" y="0"/>
                </a:moveTo>
                <a:lnTo>
                  <a:pt x="12192000" y="0"/>
                </a:lnTo>
                <a:lnTo>
                  <a:pt x="12192000" y="4109012"/>
                </a:lnTo>
                <a:lnTo>
                  <a:pt x="0" y="4109012"/>
                </a:lnTo>
                <a:close/>
              </a:path>
            </a:pathLst>
          </a:custGeom>
        </p:spPr>
      </p:pic>
      <p:sp>
        <p:nvSpPr>
          <p:cNvPr id="111" name="矩形: 单圆角 110">
            <a:extLst>
              <a:ext uri="{FF2B5EF4-FFF2-40B4-BE49-F238E27FC236}">
                <a16:creationId xmlns:a16="http://schemas.microsoft.com/office/drawing/2014/main" id="{EAF442DF-F7DD-4876-9392-D355326F67A6}"/>
              </a:ext>
            </a:extLst>
          </p:cNvPr>
          <p:cNvSpPr/>
          <p:nvPr userDrawn="1"/>
        </p:nvSpPr>
        <p:spPr>
          <a:xfrm flipH="1">
            <a:off x="1447800" y="1745269"/>
            <a:ext cx="10744200" cy="2899467"/>
          </a:xfrm>
          <a:prstGeom prst="round1Rect">
            <a:avLst>
              <a:gd name="adj" fmla="val 18817"/>
            </a:avLst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6503" y="2520083"/>
            <a:ext cx="9656072" cy="923330"/>
          </a:xfrm>
        </p:spPr>
        <p:txBody>
          <a:bodyPr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8F19B7F-65B9-4778-86D3-AB8EEFACE9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56503" y="3469812"/>
            <a:ext cx="9656072" cy="400110"/>
          </a:xfrm>
        </p:spPr>
        <p:txBody>
          <a:bodyPr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000" kern="1200" spc="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40D7A070-7AD3-46A0-AD41-94F48E4EE327}"/>
              </a:ext>
            </a:extLst>
          </p:cNvPr>
          <p:cNvSpPr/>
          <p:nvPr userDrawn="1"/>
        </p:nvSpPr>
        <p:spPr>
          <a:xfrm>
            <a:off x="1714500" y="2647696"/>
            <a:ext cx="45719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ABEFFFED-3586-4082-A56E-F78581DA1ACB}"/>
              </a:ext>
            </a:extLst>
          </p:cNvPr>
          <p:cNvSpPr/>
          <p:nvPr userDrawn="1"/>
        </p:nvSpPr>
        <p:spPr>
          <a:xfrm>
            <a:off x="1802130" y="2647696"/>
            <a:ext cx="18000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E5D5D201-24DF-473B-9E84-E4E6D020883A}"/>
              </a:ext>
            </a:extLst>
          </p:cNvPr>
          <p:cNvSpPr/>
          <p:nvPr userDrawn="1"/>
        </p:nvSpPr>
        <p:spPr>
          <a:xfrm>
            <a:off x="1447800" y="4494265"/>
            <a:ext cx="10744200" cy="15047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内容占位符 123">
            <a:extLst>
              <a:ext uri="{FF2B5EF4-FFF2-40B4-BE49-F238E27FC236}">
                <a16:creationId xmlns:a16="http://schemas.microsoft.com/office/drawing/2014/main" id="{9DFDEEF2-8AA0-4A3E-B103-38626154FE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73467" y="5372864"/>
            <a:ext cx="2719160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sp>
        <p:nvSpPr>
          <p:cNvPr id="119" name="内容占位符 4">
            <a:extLst>
              <a:ext uri="{FF2B5EF4-FFF2-40B4-BE49-F238E27FC236}">
                <a16:creationId xmlns:a16="http://schemas.microsoft.com/office/drawing/2014/main" id="{CA52BAEC-F1CF-49F3-9985-901860AA9CF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056503" y="5372864"/>
            <a:ext cx="2393258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DA2E4610-9BAC-4A38-B956-AA3BAC1E0222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1" name="Freeform 5">
              <a:extLst>
                <a:ext uri="{FF2B5EF4-FFF2-40B4-BE49-F238E27FC236}">
                  <a16:creationId xmlns:a16="http://schemas.microsoft.com/office/drawing/2014/main" id="{F95CF398-220A-4D06-A175-3707061DE2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0013E14D-5F1E-4036-8B7F-119D6A093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8">
              <a:extLst>
                <a:ext uri="{FF2B5EF4-FFF2-40B4-BE49-F238E27FC236}">
                  <a16:creationId xmlns:a16="http://schemas.microsoft.com/office/drawing/2014/main" id="{2C4920B4-4508-4CE6-A2D9-A0B9A6335B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7" name="组合 116">
              <a:extLst>
                <a:ext uri="{FF2B5EF4-FFF2-40B4-BE49-F238E27FC236}">
                  <a16:creationId xmlns:a16="http://schemas.microsoft.com/office/drawing/2014/main" id="{91656522-D6E9-4002-8824-1783875CDD64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1" name="Freeform 6">
                <a:extLst>
                  <a:ext uri="{FF2B5EF4-FFF2-40B4-BE49-F238E27FC236}">
                    <a16:creationId xmlns:a16="http://schemas.microsoft.com/office/drawing/2014/main" id="{1AD42CD9-A06B-4307-A96E-59C801E53D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0">
                <a:extLst>
                  <a:ext uri="{FF2B5EF4-FFF2-40B4-BE49-F238E27FC236}">
                    <a16:creationId xmlns:a16="http://schemas.microsoft.com/office/drawing/2014/main" id="{8B130D40-4A33-4080-9D61-7AB8CA7315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3">
                <a:extLst>
                  <a:ext uri="{FF2B5EF4-FFF2-40B4-BE49-F238E27FC236}">
                    <a16:creationId xmlns:a16="http://schemas.microsoft.com/office/drawing/2014/main" id="{5ECA1D41-7449-4F6D-A542-6F12D64E1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1" name="组合 120">
              <a:extLst>
                <a:ext uri="{FF2B5EF4-FFF2-40B4-BE49-F238E27FC236}">
                  <a16:creationId xmlns:a16="http://schemas.microsoft.com/office/drawing/2014/main" id="{AA9420AF-8CB7-4D62-8EFB-35A052D87742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56" name="Freeform 9">
                <a:extLst>
                  <a:ext uri="{FF2B5EF4-FFF2-40B4-BE49-F238E27FC236}">
                    <a16:creationId xmlns:a16="http://schemas.microsoft.com/office/drawing/2014/main" id="{D4BD301D-29A8-42A7-AC65-C6BBB010F9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1">
                <a:extLst>
                  <a:ext uri="{FF2B5EF4-FFF2-40B4-BE49-F238E27FC236}">
                    <a16:creationId xmlns:a16="http://schemas.microsoft.com/office/drawing/2014/main" id="{FE7DACDA-409B-418D-BBC7-E7882B4896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12">
                <a:extLst>
                  <a:ext uri="{FF2B5EF4-FFF2-40B4-BE49-F238E27FC236}">
                    <a16:creationId xmlns:a16="http://schemas.microsoft.com/office/drawing/2014/main" id="{724FC37A-638B-4E4B-915B-271402B5F6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4">
                <a:extLst>
                  <a:ext uri="{FF2B5EF4-FFF2-40B4-BE49-F238E27FC236}">
                    <a16:creationId xmlns:a16="http://schemas.microsoft.com/office/drawing/2014/main" id="{63FE2239-B3C7-4E06-99B7-43927840E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15">
                <a:extLst>
                  <a:ext uri="{FF2B5EF4-FFF2-40B4-BE49-F238E27FC236}">
                    <a16:creationId xmlns:a16="http://schemas.microsoft.com/office/drawing/2014/main" id="{7D8D2110-3C2C-4CBC-87EA-85421D639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2" name="Freeform 16">
              <a:extLst>
                <a:ext uri="{FF2B5EF4-FFF2-40B4-BE49-F238E27FC236}">
                  <a16:creationId xmlns:a16="http://schemas.microsoft.com/office/drawing/2014/main" id="{B9F23A47-192D-4E13-AC82-C96A6AF5CA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7">
              <a:extLst>
                <a:ext uri="{FF2B5EF4-FFF2-40B4-BE49-F238E27FC236}">
                  <a16:creationId xmlns:a16="http://schemas.microsoft.com/office/drawing/2014/main" id="{FE1EB311-DD73-437D-B596-410FD82E24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18">
              <a:extLst>
                <a:ext uri="{FF2B5EF4-FFF2-40B4-BE49-F238E27FC236}">
                  <a16:creationId xmlns:a16="http://schemas.microsoft.com/office/drawing/2014/main" id="{8D545EB2-275B-4BCA-8BA2-B73176AD09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9">
              <a:extLst>
                <a:ext uri="{FF2B5EF4-FFF2-40B4-BE49-F238E27FC236}">
                  <a16:creationId xmlns:a16="http://schemas.microsoft.com/office/drawing/2014/main" id="{E9E3E82C-7EE4-4A5E-922D-9095247C3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0">
              <a:extLst>
                <a:ext uri="{FF2B5EF4-FFF2-40B4-BE49-F238E27FC236}">
                  <a16:creationId xmlns:a16="http://schemas.microsoft.com/office/drawing/2014/main" id="{1B422B05-FD3B-4F14-9706-265D744C0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1">
              <a:extLst>
                <a:ext uri="{FF2B5EF4-FFF2-40B4-BE49-F238E27FC236}">
                  <a16:creationId xmlns:a16="http://schemas.microsoft.com/office/drawing/2014/main" id="{6E0FFE3D-BFFE-4978-A329-997F8F378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2">
              <a:extLst>
                <a:ext uri="{FF2B5EF4-FFF2-40B4-BE49-F238E27FC236}">
                  <a16:creationId xmlns:a16="http://schemas.microsoft.com/office/drawing/2014/main" id="{9A38361C-8BDC-4627-AF41-FE7CA8A46B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3">
              <a:extLst>
                <a:ext uri="{FF2B5EF4-FFF2-40B4-BE49-F238E27FC236}">
                  <a16:creationId xmlns:a16="http://schemas.microsoft.com/office/drawing/2014/main" id="{75AF39F3-B3A2-4107-83E3-D1901C99D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4">
              <a:extLst>
                <a:ext uri="{FF2B5EF4-FFF2-40B4-BE49-F238E27FC236}">
                  <a16:creationId xmlns:a16="http://schemas.microsoft.com/office/drawing/2014/main" id="{F6E9551F-3D23-4682-8427-DEA0171C8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5">
              <a:extLst>
                <a:ext uri="{FF2B5EF4-FFF2-40B4-BE49-F238E27FC236}">
                  <a16:creationId xmlns:a16="http://schemas.microsoft.com/office/drawing/2014/main" id="{8388614D-543B-464C-B279-0010479EF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6">
              <a:extLst>
                <a:ext uri="{FF2B5EF4-FFF2-40B4-BE49-F238E27FC236}">
                  <a16:creationId xmlns:a16="http://schemas.microsoft.com/office/drawing/2014/main" id="{17EF59A3-2C40-4CF9-BA45-A571986B89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7">
              <a:extLst>
                <a:ext uri="{FF2B5EF4-FFF2-40B4-BE49-F238E27FC236}">
                  <a16:creationId xmlns:a16="http://schemas.microsoft.com/office/drawing/2014/main" id="{0BD4B2B9-732A-464A-81F7-33BAD17F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8">
              <a:extLst>
                <a:ext uri="{FF2B5EF4-FFF2-40B4-BE49-F238E27FC236}">
                  <a16:creationId xmlns:a16="http://schemas.microsoft.com/office/drawing/2014/main" id="{AF24A50D-F663-4E10-A9DB-E5E239C52F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29">
              <a:extLst>
                <a:ext uri="{FF2B5EF4-FFF2-40B4-BE49-F238E27FC236}">
                  <a16:creationId xmlns:a16="http://schemas.microsoft.com/office/drawing/2014/main" id="{14AF73E2-ACA2-4B5F-AAAF-034275B9B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0">
              <a:extLst>
                <a:ext uri="{FF2B5EF4-FFF2-40B4-BE49-F238E27FC236}">
                  <a16:creationId xmlns:a16="http://schemas.microsoft.com/office/drawing/2014/main" id="{F0F376DC-A254-478A-923D-7B0EB1817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1">
              <a:extLst>
                <a:ext uri="{FF2B5EF4-FFF2-40B4-BE49-F238E27FC236}">
                  <a16:creationId xmlns:a16="http://schemas.microsoft.com/office/drawing/2014/main" id="{E673B1FA-B155-4875-B9C5-C9149D077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2">
              <a:extLst>
                <a:ext uri="{FF2B5EF4-FFF2-40B4-BE49-F238E27FC236}">
                  <a16:creationId xmlns:a16="http://schemas.microsoft.com/office/drawing/2014/main" id="{F653CE11-E750-42CD-B076-8F39F3278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3">
              <a:extLst>
                <a:ext uri="{FF2B5EF4-FFF2-40B4-BE49-F238E27FC236}">
                  <a16:creationId xmlns:a16="http://schemas.microsoft.com/office/drawing/2014/main" id="{9A4B7ED5-ACBF-4FB4-991B-6D7C5C920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4">
              <a:extLst>
                <a:ext uri="{FF2B5EF4-FFF2-40B4-BE49-F238E27FC236}">
                  <a16:creationId xmlns:a16="http://schemas.microsoft.com/office/drawing/2014/main" id="{88E69CF0-D9DF-41A7-BD95-11F19094A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5">
              <a:extLst>
                <a:ext uri="{FF2B5EF4-FFF2-40B4-BE49-F238E27FC236}">
                  <a16:creationId xmlns:a16="http://schemas.microsoft.com/office/drawing/2014/main" id="{BC43E8AE-0083-4340-AE5E-8F20D5800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6">
              <a:extLst>
                <a:ext uri="{FF2B5EF4-FFF2-40B4-BE49-F238E27FC236}">
                  <a16:creationId xmlns:a16="http://schemas.microsoft.com/office/drawing/2014/main" id="{69F9CA36-3B30-4601-9D57-B61CC4E9D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7">
              <a:extLst>
                <a:ext uri="{FF2B5EF4-FFF2-40B4-BE49-F238E27FC236}">
                  <a16:creationId xmlns:a16="http://schemas.microsoft.com/office/drawing/2014/main" id="{5CD44C6D-3385-4193-A91C-7F1FB7196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8">
              <a:extLst>
                <a:ext uri="{FF2B5EF4-FFF2-40B4-BE49-F238E27FC236}">
                  <a16:creationId xmlns:a16="http://schemas.microsoft.com/office/drawing/2014/main" id="{B7F17363-2BE0-498C-9F97-05A2C4660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9">
              <a:extLst>
                <a:ext uri="{FF2B5EF4-FFF2-40B4-BE49-F238E27FC236}">
                  <a16:creationId xmlns:a16="http://schemas.microsoft.com/office/drawing/2014/main" id="{9AF5E138-E7CD-4D6D-9E90-4D8C86746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40">
              <a:extLst>
                <a:ext uri="{FF2B5EF4-FFF2-40B4-BE49-F238E27FC236}">
                  <a16:creationId xmlns:a16="http://schemas.microsoft.com/office/drawing/2014/main" id="{12CBE9EE-C848-4C5B-B4D7-2AE3789A4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41">
              <a:extLst>
                <a:ext uri="{FF2B5EF4-FFF2-40B4-BE49-F238E27FC236}">
                  <a16:creationId xmlns:a16="http://schemas.microsoft.com/office/drawing/2014/main" id="{91BDD85E-C3FC-4B60-901D-3E144B863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42">
              <a:extLst>
                <a:ext uri="{FF2B5EF4-FFF2-40B4-BE49-F238E27FC236}">
                  <a16:creationId xmlns:a16="http://schemas.microsoft.com/office/drawing/2014/main" id="{E505D0CA-C4A9-4829-A4D8-6D038DFEE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43">
              <a:extLst>
                <a:ext uri="{FF2B5EF4-FFF2-40B4-BE49-F238E27FC236}">
                  <a16:creationId xmlns:a16="http://schemas.microsoft.com/office/drawing/2014/main" id="{289CD49A-E284-4406-B5C2-DB3712FA7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44">
              <a:extLst>
                <a:ext uri="{FF2B5EF4-FFF2-40B4-BE49-F238E27FC236}">
                  <a16:creationId xmlns:a16="http://schemas.microsoft.com/office/drawing/2014/main" id="{30E9EEA8-B87C-427E-9456-5EAE51AAFC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5">
              <a:extLst>
                <a:ext uri="{FF2B5EF4-FFF2-40B4-BE49-F238E27FC236}">
                  <a16:creationId xmlns:a16="http://schemas.microsoft.com/office/drawing/2014/main" id="{A47D0848-2723-46E1-8389-9329CB82B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6">
              <a:extLst>
                <a:ext uri="{FF2B5EF4-FFF2-40B4-BE49-F238E27FC236}">
                  <a16:creationId xmlns:a16="http://schemas.microsoft.com/office/drawing/2014/main" id="{3450C6CD-2C0A-495E-B766-36616FE64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7">
              <a:extLst>
                <a:ext uri="{FF2B5EF4-FFF2-40B4-BE49-F238E27FC236}">
                  <a16:creationId xmlns:a16="http://schemas.microsoft.com/office/drawing/2014/main" id="{F8913071-682B-4DF3-96AE-0C004DCC7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48">
              <a:extLst>
                <a:ext uri="{FF2B5EF4-FFF2-40B4-BE49-F238E27FC236}">
                  <a16:creationId xmlns:a16="http://schemas.microsoft.com/office/drawing/2014/main" id="{C8E6003D-802D-46C2-9FF3-B5C4980E8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49">
              <a:extLst>
                <a:ext uri="{FF2B5EF4-FFF2-40B4-BE49-F238E27FC236}">
                  <a16:creationId xmlns:a16="http://schemas.microsoft.com/office/drawing/2014/main" id="{755FA02C-529D-4F34-855C-240998D1D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E4356FD8-06BD-4103-989F-1863911BA076}"/>
              </a:ext>
            </a:extLst>
          </p:cNvPr>
          <p:cNvCxnSpPr>
            <a:cxnSpLocks/>
          </p:cNvCxnSpPr>
          <p:nvPr userDrawn="1"/>
        </p:nvCxnSpPr>
        <p:spPr>
          <a:xfrm>
            <a:off x="4471557" y="5433940"/>
            <a:ext cx="0" cy="26785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2962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图片 111">
            <a:extLst>
              <a:ext uri="{FF2B5EF4-FFF2-40B4-BE49-F238E27FC236}">
                <a16:creationId xmlns:a16="http://schemas.microsoft.com/office/drawing/2014/main" id="{F2D1304D-8D69-406E-8632-D22003A84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  <a14:imgEffect>
                      <a14:brightnessContrast brigh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12192000" cy="6858001"/>
          </a:xfrm>
          <a:prstGeom prst="rect">
            <a:avLst/>
          </a:prstGeom>
          <a:effectLst/>
        </p:spPr>
      </p:pic>
      <p:sp>
        <p:nvSpPr>
          <p:cNvPr id="113" name="矩形 112">
            <a:extLst>
              <a:ext uri="{FF2B5EF4-FFF2-40B4-BE49-F238E27FC236}">
                <a16:creationId xmlns:a16="http://schemas.microsoft.com/office/drawing/2014/main" id="{F5C9D64E-AF75-4DFB-AE55-9CC20BDF2BE9}"/>
              </a:ext>
            </a:extLst>
          </p:cNvPr>
          <p:cNvSpPr/>
          <p:nvPr userDrawn="1"/>
        </p:nvSpPr>
        <p:spPr>
          <a:xfrm>
            <a:off x="1969477" y="0"/>
            <a:ext cx="10222524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6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BA253DF-B509-4EE6-97B4-DB7218B2C4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"/>
            <a:ext cx="12192002" cy="6858000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60323" y="2268637"/>
            <a:ext cx="8152252" cy="687095"/>
          </a:xfrm>
        </p:spPr>
        <p:txBody>
          <a:bodyPr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4800" b="1" kern="1200" spc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8F19B7F-65B9-4778-86D3-AB8EEFACE9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0323" y="2982132"/>
            <a:ext cx="8152252" cy="400110"/>
          </a:xfrm>
        </p:spPr>
        <p:txBody>
          <a:bodyPr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kern="1200" spc="3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24" name="内容占位符 123">
            <a:extLst>
              <a:ext uri="{FF2B5EF4-FFF2-40B4-BE49-F238E27FC236}">
                <a16:creationId xmlns:a16="http://schemas.microsoft.com/office/drawing/2014/main" id="{86706487-BF24-4224-A47D-9E1CEDA4525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578451" y="4244455"/>
            <a:ext cx="2393258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621C1C06-275B-4702-87F2-67A313DD679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371527" y="4244455"/>
            <a:ext cx="2719160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cxnSp>
        <p:nvCxnSpPr>
          <p:cNvPr id="178" name="直接连接符 177">
            <a:extLst>
              <a:ext uri="{FF2B5EF4-FFF2-40B4-BE49-F238E27FC236}">
                <a16:creationId xmlns:a16="http://schemas.microsoft.com/office/drawing/2014/main" id="{13019B38-2E5B-456D-9510-B12F439AC8F9}"/>
              </a:ext>
            </a:extLst>
          </p:cNvPr>
          <p:cNvCxnSpPr>
            <a:cxnSpLocks/>
          </p:cNvCxnSpPr>
          <p:nvPr/>
        </p:nvCxnSpPr>
        <p:spPr>
          <a:xfrm>
            <a:off x="5971709" y="4305531"/>
            <a:ext cx="0" cy="26785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矩形 178">
            <a:extLst>
              <a:ext uri="{FF2B5EF4-FFF2-40B4-BE49-F238E27FC236}">
                <a16:creationId xmlns:a16="http://schemas.microsoft.com/office/drawing/2014/main" id="{AC6138A1-70AD-4A97-88A8-309DB3524A53}"/>
              </a:ext>
            </a:extLst>
          </p:cNvPr>
          <p:cNvSpPr/>
          <p:nvPr userDrawn="1"/>
        </p:nvSpPr>
        <p:spPr>
          <a:xfrm>
            <a:off x="3560322" y="3570676"/>
            <a:ext cx="8631677" cy="45719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grpSp>
        <p:nvGrpSpPr>
          <p:cNvPr id="63" name="组合 62">
            <a:extLst>
              <a:ext uri="{FF2B5EF4-FFF2-40B4-BE49-F238E27FC236}">
                <a16:creationId xmlns:a16="http://schemas.microsoft.com/office/drawing/2014/main" id="{7BF91281-8FB4-461E-AF7E-F5FAB6CCD422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4" name="Freeform 5">
              <a:extLst>
                <a:ext uri="{FF2B5EF4-FFF2-40B4-BE49-F238E27FC236}">
                  <a16:creationId xmlns:a16="http://schemas.microsoft.com/office/drawing/2014/main" id="{1C205A21-BC5D-4B4A-A009-CFED1E3C2E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7">
              <a:extLst>
                <a:ext uri="{FF2B5EF4-FFF2-40B4-BE49-F238E27FC236}">
                  <a16:creationId xmlns:a16="http://schemas.microsoft.com/office/drawing/2014/main" id="{CCB9322C-CE97-436B-8880-636CCC012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FD43AFCB-7E60-4A49-8EC6-CAD6233E1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7" name="组合 66">
              <a:extLst>
                <a:ext uri="{FF2B5EF4-FFF2-40B4-BE49-F238E27FC236}">
                  <a16:creationId xmlns:a16="http://schemas.microsoft.com/office/drawing/2014/main" id="{60563A5C-9292-4DAC-B9F2-654B30F7AB19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8" name="Freeform 6">
                <a:extLst>
                  <a:ext uri="{FF2B5EF4-FFF2-40B4-BE49-F238E27FC236}">
                    <a16:creationId xmlns:a16="http://schemas.microsoft.com/office/drawing/2014/main" id="{6370BBFA-61EC-41CF-973D-03C4FB0F7C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0">
                <a:extLst>
                  <a:ext uri="{FF2B5EF4-FFF2-40B4-BE49-F238E27FC236}">
                    <a16:creationId xmlns:a16="http://schemas.microsoft.com/office/drawing/2014/main" id="{7AC46B3D-7217-4F57-9A2F-D4919D9EE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3">
                <a:extLst>
                  <a:ext uri="{FF2B5EF4-FFF2-40B4-BE49-F238E27FC236}">
                    <a16:creationId xmlns:a16="http://schemas.microsoft.com/office/drawing/2014/main" id="{394BE59D-E5A4-46D3-8DB6-A2A7B3BCF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EB93207B-51C7-46B8-8AC7-C92B0FCCDBB8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3" name="Freeform 9">
                <a:extLst>
                  <a:ext uri="{FF2B5EF4-FFF2-40B4-BE49-F238E27FC236}">
                    <a16:creationId xmlns:a16="http://schemas.microsoft.com/office/drawing/2014/main" id="{D802F21C-92B8-431D-9F9A-08470E9911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11">
                <a:extLst>
                  <a:ext uri="{FF2B5EF4-FFF2-40B4-BE49-F238E27FC236}">
                    <a16:creationId xmlns:a16="http://schemas.microsoft.com/office/drawing/2014/main" id="{B47ECF5E-9B12-403B-8018-F47939302F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2">
                <a:extLst>
                  <a:ext uri="{FF2B5EF4-FFF2-40B4-BE49-F238E27FC236}">
                    <a16:creationId xmlns:a16="http://schemas.microsoft.com/office/drawing/2014/main" id="{FD27F183-918C-4DF7-B614-7E90CCECE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4">
                <a:extLst>
                  <a:ext uri="{FF2B5EF4-FFF2-40B4-BE49-F238E27FC236}">
                    <a16:creationId xmlns:a16="http://schemas.microsoft.com/office/drawing/2014/main" id="{4FCE094A-F205-403F-931D-23810B446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5">
                <a:extLst>
                  <a:ext uri="{FF2B5EF4-FFF2-40B4-BE49-F238E27FC236}">
                    <a16:creationId xmlns:a16="http://schemas.microsoft.com/office/drawing/2014/main" id="{53486DA6-BFCE-4232-93E2-27F4ABC3B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253F165C-3BBC-4769-B577-1CD342AFE5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8DBDEC8B-E98E-4F44-80AD-D28A4508B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Oval 18">
              <a:extLst>
                <a:ext uri="{FF2B5EF4-FFF2-40B4-BE49-F238E27FC236}">
                  <a16:creationId xmlns:a16="http://schemas.microsoft.com/office/drawing/2014/main" id="{84894ECC-27CF-4881-B6F1-49F0CF12D9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94088EA3-D735-4745-B3B3-6A0945C6A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0">
              <a:extLst>
                <a:ext uri="{FF2B5EF4-FFF2-40B4-BE49-F238E27FC236}">
                  <a16:creationId xmlns:a16="http://schemas.microsoft.com/office/drawing/2014/main" id="{0BB42DB7-4A11-4B69-AD29-375432235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1">
              <a:extLst>
                <a:ext uri="{FF2B5EF4-FFF2-40B4-BE49-F238E27FC236}">
                  <a16:creationId xmlns:a16="http://schemas.microsoft.com/office/drawing/2014/main" id="{FEF398DE-0B20-41EA-B647-FE69325FD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2">
              <a:extLst>
                <a:ext uri="{FF2B5EF4-FFF2-40B4-BE49-F238E27FC236}">
                  <a16:creationId xmlns:a16="http://schemas.microsoft.com/office/drawing/2014/main" id="{4214EF17-92AF-4306-AB66-02B32907E0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3">
              <a:extLst>
                <a:ext uri="{FF2B5EF4-FFF2-40B4-BE49-F238E27FC236}">
                  <a16:creationId xmlns:a16="http://schemas.microsoft.com/office/drawing/2014/main" id="{4832CF4D-0527-4E92-B250-109AE0D2A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4">
              <a:extLst>
                <a:ext uri="{FF2B5EF4-FFF2-40B4-BE49-F238E27FC236}">
                  <a16:creationId xmlns:a16="http://schemas.microsoft.com/office/drawing/2014/main" id="{2DE07005-9C56-43D1-9FB8-3F2621032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5">
              <a:extLst>
                <a:ext uri="{FF2B5EF4-FFF2-40B4-BE49-F238E27FC236}">
                  <a16:creationId xmlns:a16="http://schemas.microsoft.com/office/drawing/2014/main" id="{1A771D13-9DF4-4285-96CD-B08FC8436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6">
              <a:extLst>
                <a:ext uri="{FF2B5EF4-FFF2-40B4-BE49-F238E27FC236}">
                  <a16:creationId xmlns:a16="http://schemas.microsoft.com/office/drawing/2014/main" id="{91875A32-2DA6-4F7B-867F-2ECA06702D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7">
              <a:extLst>
                <a:ext uri="{FF2B5EF4-FFF2-40B4-BE49-F238E27FC236}">
                  <a16:creationId xmlns:a16="http://schemas.microsoft.com/office/drawing/2014/main" id="{CF705DCB-1578-4923-BF84-33859F858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8">
              <a:extLst>
                <a:ext uri="{FF2B5EF4-FFF2-40B4-BE49-F238E27FC236}">
                  <a16:creationId xmlns:a16="http://schemas.microsoft.com/office/drawing/2014/main" id="{18A8E6B5-B301-457F-A2D6-2DD48573F6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9">
              <a:extLst>
                <a:ext uri="{FF2B5EF4-FFF2-40B4-BE49-F238E27FC236}">
                  <a16:creationId xmlns:a16="http://schemas.microsoft.com/office/drawing/2014/main" id="{4347078D-C2E3-41D7-9D69-EBF6AF566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30">
              <a:extLst>
                <a:ext uri="{FF2B5EF4-FFF2-40B4-BE49-F238E27FC236}">
                  <a16:creationId xmlns:a16="http://schemas.microsoft.com/office/drawing/2014/main" id="{20AA0984-BE82-4948-A897-F4AAB6924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1">
              <a:extLst>
                <a:ext uri="{FF2B5EF4-FFF2-40B4-BE49-F238E27FC236}">
                  <a16:creationId xmlns:a16="http://schemas.microsoft.com/office/drawing/2014/main" id="{CD6737AE-0B0A-483C-80FD-6B70B4DE8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2">
              <a:extLst>
                <a:ext uri="{FF2B5EF4-FFF2-40B4-BE49-F238E27FC236}">
                  <a16:creationId xmlns:a16="http://schemas.microsoft.com/office/drawing/2014/main" id="{8C4B75CE-7BF9-49D7-B908-D49104CC7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3">
              <a:extLst>
                <a:ext uri="{FF2B5EF4-FFF2-40B4-BE49-F238E27FC236}">
                  <a16:creationId xmlns:a16="http://schemas.microsoft.com/office/drawing/2014/main" id="{C8DEA7EA-5A14-4777-BCD1-3F10BA51A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4">
              <a:extLst>
                <a:ext uri="{FF2B5EF4-FFF2-40B4-BE49-F238E27FC236}">
                  <a16:creationId xmlns:a16="http://schemas.microsoft.com/office/drawing/2014/main" id="{4F286825-4BAF-486B-BB3B-F05B4826D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5">
              <a:extLst>
                <a:ext uri="{FF2B5EF4-FFF2-40B4-BE49-F238E27FC236}">
                  <a16:creationId xmlns:a16="http://schemas.microsoft.com/office/drawing/2014/main" id="{2701932F-03FF-44D5-86FF-C3BF3CC40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6">
              <a:extLst>
                <a:ext uri="{FF2B5EF4-FFF2-40B4-BE49-F238E27FC236}">
                  <a16:creationId xmlns:a16="http://schemas.microsoft.com/office/drawing/2014/main" id="{6F020116-3751-4B4A-B15D-B5103520E2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7">
              <a:extLst>
                <a:ext uri="{FF2B5EF4-FFF2-40B4-BE49-F238E27FC236}">
                  <a16:creationId xmlns:a16="http://schemas.microsoft.com/office/drawing/2014/main" id="{317F3CAF-126D-42A0-8F91-58F8A8FC3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8">
              <a:extLst>
                <a:ext uri="{FF2B5EF4-FFF2-40B4-BE49-F238E27FC236}">
                  <a16:creationId xmlns:a16="http://schemas.microsoft.com/office/drawing/2014/main" id="{21381D19-DB13-441B-9A3A-FBF317C7C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9">
              <a:extLst>
                <a:ext uri="{FF2B5EF4-FFF2-40B4-BE49-F238E27FC236}">
                  <a16:creationId xmlns:a16="http://schemas.microsoft.com/office/drawing/2014/main" id="{8174206A-CCEC-4C02-9262-D7111C46A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40">
              <a:extLst>
                <a:ext uri="{FF2B5EF4-FFF2-40B4-BE49-F238E27FC236}">
                  <a16:creationId xmlns:a16="http://schemas.microsoft.com/office/drawing/2014/main" id="{54E32FAB-C35E-448A-8757-FA9DF1B17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1">
              <a:extLst>
                <a:ext uri="{FF2B5EF4-FFF2-40B4-BE49-F238E27FC236}">
                  <a16:creationId xmlns:a16="http://schemas.microsoft.com/office/drawing/2014/main" id="{C964460B-B5FF-47D6-8491-AD67734E6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2">
              <a:extLst>
                <a:ext uri="{FF2B5EF4-FFF2-40B4-BE49-F238E27FC236}">
                  <a16:creationId xmlns:a16="http://schemas.microsoft.com/office/drawing/2014/main" id="{5E86ED61-085E-4848-84AA-66583BCA8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3">
              <a:extLst>
                <a:ext uri="{FF2B5EF4-FFF2-40B4-BE49-F238E27FC236}">
                  <a16:creationId xmlns:a16="http://schemas.microsoft.com/office/drawing/2014/main" id="{1705AEE3-39A5-42D5-8A5C-2CE422288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4">
              <a:extLst>
                <a:ext uri="{FF2B5EF4-FFF2-40B4-BE49-F238E27FC236}">
                  <a16:creationId xmlns:a16="http://schemas.microsoft.com/office/drawing/2014/main" id="{D3613CF2-608E-4841-BF96-83C61CAD22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5">
              <a:extLst>
                <a:ext uri="{FF2B5EF4-FFF2-40B4-BE49-F238E27FC236}">
                  <a16:creationId xmlns:a16="http://schemas.microsoft.com/office/drawing/2014/main" id="{A18794A7-78F1-46ED-BC58-6F6FC42FD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6">
              <a:extLst>
                <a:ext uri="{FF2B5EF4-FFF2-40B4-BE49-F238E27FC236}">
                  <a16:creationId xmlns:a16="http://schemas.microsoft.com/office/drawing/2014/main" id="{B0BF1F43-FE64-4417-9558-242F6C084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7">
              <a:extLst>
                <a:ext uri="{FF2B5EF4-FFF2-40B4-BE49-F238E27FC236}">
                  <a16:creationId xmlns:a16="http://schemas.microsoft.com/office/drawing/2014/main" id="{F770033D-EB97-412B-B42E-CB0C27321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8">
              <a:extLst>
                <a:ext uri="{FF2B5EF4-FFF2-40B4-BE49-F238E27FC236}">
                  <a16:creationId xmlns:a16="http://schemas.microsoft.com/office/drawing/2014/main" id="{B3EA73B3-BDF9-41C0-AF60-D446A6E1D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9">
              <a:extLst>
                <a:ext uri="{FF2B5EF4-FFF2-40B4-BE49-F238E27FC236}">
                  <a16:creationId xmlns:a16="http://schemas.microsoft.com/office/drawing/2014/main" id="{E715388D-7947-4D9C-BB1C-CAC22A302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1" name="组合 110">
            <a:extLst>
              <a:ext uri="{FF2B5EF4-FFF2-40B4-BE49-F238E27FC236}">
                <a16:creationId xmlns:a16="http://schemas.microsoft.com/office/drawing/2014/main" id="{DE3AF6A3-495E-4098-A602-87D7A3B6846A}"/>
              </a:ext>
            </a:extLst>
          </p:cNvPr>
          <p:cNvGrpSpPr/>
          <p:nvPr userDrawn="1"/>
        </p:nvGrpSpPr>
        <p:grpSpPr>
          <a:xfrm>
            <a:off x="6733042" y="0"/>
            <a:ext cx="5458958" cy="6574420"/>
            <a:chOff x="8431598" y="0"/>
            <a:chExt cx="3760402" cy="4528788"/>
          </a:xfrm>
        </p:grpSpPr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41282826-9B5F-4629-849E-31C61AD43F9A}"/>
                </a:ext>
              </a:extLst>
            </p:cNvPr>
            <p:cNvSpPr/>
            <p:nvPr/>
          </p:nvSpPr>
          <p:spPr>
            <a:xfrm>
              <a:off x="10434932" y="0"/>
              <a:ext cx="1757068" cy="4528788"/>
            </a:xfrm>
            <a:custGeom>
              <a:avLst/>
              <a:gdLst>
                <a:gd name="connsiteX0" fmla="*/ 1273576 w 1757068"/>
                <a:gd name="connsiteY0" fmla="*/ 0 h 4528788"/>
                <a:gd name="connsiteX1" fmla="*/ 1757068 w 1757068"/>
                <a:gd name="connsiteY1" fmla="*/ 0 h 4528788"/>
                <a:gd name="connsiteX2" fmla="*/ 1757068 w 1757068"/>
                <a:gd name="connsiteY2" fmla="*/ 980624 h 4528788"/>
                <a:gd name="connsiteX3" fmla="*/ 759261 w 1757068"/>
                <a:gd name="connsiteY3" fmla="*/ 4528788 h 4528788"/>
                <a:gd name="connsiteX4" fmla="*/ 0 w 1757068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7068" h="4528788">
                  <a:moveTo>
                    <a:pt x="1273576" y="0"/>
                  </a:moveTo>
                  <a:lnTo>
                    <a:pt x="1757068" y="0"/>
                  </a:lnTo>
                  <a:lnTo>
                    <a:pt x="1757068" y="980624"/>
                  </a:lnTo>
                  <a:lnTo>
                    <a:pt x="759261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064930CF-DBCF-4E6A-99C4-94B017EE420D}"/>
                </a:ext>
              </a:extLst>
            </p:cNvPr>
            <p:cNvSpPr/>
            <p:nvPr/>
          </p:nvSpPr>
          <p:spPr>
            <a:xfrm>
              <a:off x="8431598" y="0"/>
              <a:ext cx="3760402" cy="4528788"/>
            </a:xfrm>
            <a:custGeom>
              <a:avLst/>
              <a:gdLst>
                <a:gd name="connsiteX0" fmla="*/ 1289144 w 3760402"/>
                <a:gd name="connsiteY0" fmla="*/ 0 h 4528788"/>
                <a:gd name="connsiteX1" fmla="*/ 3760402 w 3760402"/>
                <a:gd name="connsiteY1" fmla="*/ 0 h 4528788"/>
                <a:gd name="connsiteX2" fmla="*/ 3760402 w 3760402"/>
                <a:gd name="connsiteY2" fmla="*/ 247103 h 4528788"/>
                <a:gd name="connsiteX3" fmla="*/ 2541597 w 3760402"/>
                <a:gd name="connsiteY3" fmla="*/ 4528788 h 4528788"/>
                <a:gd name="connsiteX4" fmla="*/ 0 w 3760402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0402" h="4528788">
                  <a:moveTo>
                    <a:pt x="1289144" y="0"/>
                  </a:moveTo>
                  <a:lnTo>
                    <a:pt x="3760402" y="0"/>
                  </a:lnTo>
                  <a:lnTo>
                    <a:pt x="3760402" y="247103"/>
                  </a:lnTo>
                  <a:lnTo>
                    <a:pt x="2541597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1A3EDA0E-DAC7-4C30-B5AA-EC37E89BE66E}"/>
                </a:ext>
              </a:extLst>
            </p:cNvPr>
            <p:cNvSpPr/>
            <p:nvPr/>
          </p:nvSpPr>
          <p:spPr>
            <a:xfrm>
              <a:off x="8728052" y="0"/>
              <a:ext cx="1403628" cy="2897528"/>
            </a:xfrm>
            <a:custGeom>
              <a:avLst/>
              <a:gdLst>
                <a:gd name="connsiteX0" fmla="*/ 814836 w 1403628"/>
                <a:gd name="connsiteY0" fmla="*/ 0 h 2897528"/>
                <a:gd name="connsiteX1" fmla="*/ 1403628 w 1403628"/>
                <a:gd name="connsiteY1" fmla="*/ 0 h 2897528"/>
                <a:gd name="connsiteX2" fmla="*/ 588792 w 1403628"/>
                <a:gd name="connsiteY2" fmla="*/ 2897528 h 2897528"/>
                <a:gd name="connsiteX3" fmla="*/ 0 w 1403628"/>
                <a:gd name="connsiteY3" fmla="*/ 2897528 h 2897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628" h="2897528">
                  <a:moveTo>
                    <a:pt x="814836" y="0"/>
                  </a:moveTo>
                  <a:lnTo>
                    <a:pt x="1403628" y="0"/>
                  </a:lnTo>
                  <a:lnTo>
                    <a:pt x="588792" y="2897528"/>
                  </a:lnTo>
                  <a:lnTo>
                    <a:pt x="0" y="289752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9848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4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矩形: 单圆角 111">
            <a:extLst>
              <a:ext uri="{FF2B5EF4-FFF2-40B4-BE49-F238E27FC236}">
                <a16:creationId xmlns:a16="http://schemas.microsoft.com/office/drawing/2014/main" id="{281E559F-1BB1-4EBF-9C9D-0E75A7EB124D}"/>
              </a:ext>
            </a:extLst>
          </p:cNvPr>
          <p:cNvSpPr/>
          <p:nvPr userDrawn="1"/>
        </p:nvSpPr>
        <p:spPr>
          <a:xfrm flipH="1">
            <a:off x="515937" y="1041723"/>
            <a:ext cx="11676059" cy="2932262"/>
          </a:xfrm>
          <a:prstGeom prst="round1Rect">
            <a:avLst>
              <a:gd name="adj" fmla="val 18817"/>
            </a:avLst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标题 1">
            <a:extLst>
              <a:ext uri="{FF2B5EF4-FFF2-40B4-BE49-F238E27FC236}">
                <a16:creationId xmlns:a16="http://schemas.microsoft.com/office/drawing/2014/main" id="{078F703C-78E5-432B-B5C7-AF51BC7B6D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1856" y="1247447"/>
            <a:ext cx="9383888" cy="923330"/>
          </a:xfrm>
        </p:spPr>
        <p:txBody>
          <a:bodyPr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defRPr lang="en-US" sz="54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7" name="副标题 2">
            <a:extLst>
              <a:ext uri="{FF2B5EF4-FFF2-40B4-BE49-F238E27FC236}">
                <a16:creationId xmlns:a16="http://schemas.microsoft.com/office/drawing/2014/main" id="{E2EF41F0-E4CB-4393-9146-8CC2F3B9D3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1856" y="2174027"/>
            <a:ext cx="9383888" cy="400110"/>
          </a:xfrm>
        </p:spPr>
        <p:txBody>
          <a:bodyPr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000" kern="1200" spc="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18" name="矩形 117">
            <a:extLst>
              <a:ext uri="{FF2B5EF4-FFF2-40B4-BE49-F238E27FC236}">
                <a16:creationId xmlns:a16="http://schemas.microsoft.com/office/drawing/2014/main" id="{845B42A2-4889-46CB-909F-7B364C03672E}"/>
              </a:ext>
            </a:extLst>
          </p:cNvPr>
          <p:cNvSpPr/>
          <p:nvPr userDrawn="1"/>
        </p:nvSpPr>
        <p:spPr>
          <a:xfrm>
            <a:off x="515937" y="3823513"/>
            <a:ext cx="11676063" cy="15047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9" name="图片 168">
            <a:extLst>
              <a:ext uri="{FF2B5EF4-FFF2-40B4-BE49-F238E27FC236}">
                <a16:creationId xmlns:a16="http://schemas.microsoft.com/office/drawing/2014/main" id="{CF577473-E5F9-47A9-B763-62B79819D3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27858"/>
            <a:ext cx="740780" cy="5330141"/>
          </a:xfrm>
          <a:prstGeom prst="rect">
            <a:avLst/>
          </a:prstGeom>
        </p:spPr>
      </p:pic>
      <p:pic>
        <p:nvPicPr>
          <p:cNvPr id="170" name="图片 169">
            <a:extLst>
              <a:ext uri="{FF2B5EF4-FFF2-40B4-BE49-F238E27FC236}">
                <a16:creationId xmlns:a16="http://schemas.microsoft.com/office/drawing/2014/main" id="{A723E1B4-671A-41BD-B3A8-419552099C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630" y="3796496"/>
            <a:ext cx="3460830" cy="3061503"/>
          </a:xfrm>
          <a:prstGeom prst="rect">
            <a:avLst/>
          </a:prstGeom>
        </p:spPr>
      </p:pic>
      <p:pic>
        <p:nvPicPr>
          <p:cNvPr id="171" name="图片 170">
            <a:extLst>
              <a:ext uri="{FF2B5EF4-FFF2-40B4-BE49-F238E27FC236}">
                <a16:creationId xmlns:a16="http://schemas.microsoft.com/office/drawing/2014/main" id="{FC874BB2-5484-4ED8-82A3-05EA7BE1F4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 b="-2"/>
          <a:stretch/>
        </p:blipFill>
        <p:spPr>
          <a:xfrm>
            <a:off x="9317620" y="3333510"/>
            <a:ext cx="2874380" cy="3524490"/>
          </a:xfrm>
          <a:prstGeom prst="rect">
            <a:avLst/>
          </a:prstGeom>
        </p:spPr>
      </p:pic>
      <p:pic>
        <p:nvPicPr>
          <p:cNvPr id="174" name="图片 173">
            <a:extLst>
              <a:ext uri="{FF2B5EF4-FFF2-40B4-BE49-F238E27FC236}">
                <a16:creationId xmlns:a16="http://schemas.microsoft.com/office/drawing/2014/main" id="{64EF03A9-3C59-4F54-84A8-5E56358A36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4178462" y="2835797"/>
            <a:ext cx="1898248" cy="4022202"/>
          </a:xfrm>
          <a:prstGeom prst="rect">
            <a:avLst/>
          </a:prstGeom>
        </p:spPr>
      </p:pic>
      <p:cxnSp>
        <p:nvCxnSpPr>
          <p:cNvPr id="175" name="直接连接符 174">
            <a:extLst>
              <a:ext uri="{FF2B5EF4-FFF2-40B4-BE49-F238E27FC236}">
                <a16:creationId xmlns:a16="http://schemas.microsoft.com/office/drawing/2014/main" id="{6295E604-6BA0-4A87-88C7-D9AC2AEE175B}"/>
              </a:ext>
            </a:extLst>
          </p:cNvPr>
          <p:cNvCxnSpPr>
            <a:cxnSpLocks/>
          </p:cNvCxnSpPr>
          <p:nvPr userDrawn="1"/>
        </p:nvCxnSpPr>
        <p:spPr>
          <a:xfrm>
            <a:off x="1001856" y="2696901"/>
            <a:ext cx="630174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内容占位符 123">
            <a:extLst>
              <a:ext uri="{FF2B5EF4-FFF2-40B4-BE49-F238E27FC236}">
                <a16:creationId xmlns:a16="http://schemas.microsoft.com/office/drawing/2014/main" id="{C1585AE2-66F7-4C7A-82EC-5D971E61632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35562" y="3159374"/>
            <a:ext cx="2393258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sp>
        <p:nvSpPr>
          <p:cNvPr id="181" name="内容占位符 4">
            <a:extLst>
              <a:ext uri="{FF2B5EF4-FFF2-40B4-BE49-F238E27FC236}">
                <a16:creationId xmlns:a16="http://schemas.microsoft.com/office/drawing/2014/main" id="{3386D398-42A4-481D-A56F-AED86E6D856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28638" y="3159374"/>
            <a:ext cx="2719160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</a:p>
        </p:txBody>
      </p:sp>
      <p:cxnSp>
        <p:nvCxnSpPr>
          <p:cNvPr id="185" name="直接连接符 184">
            <a:extLst>
              <a:ext uri="{FF2B5EF4-FFF2-40B4-BE49-F238E27FC236}">
                <a16:creationId xmlns:a16="http://schemas.microsoft.com/office/drawing/2014/main" id="{81735DC2-B28D-4E81-8358-A8FFC41984DF}"/>
              </a:ext>
            </a:extLst>
          </p:cNvPr>
          <p:cNvCxnSpPr>
            <a:cxnSpLocks/>
          </p:cNvCxnSpPr>
          <p:nvPr/>
        </p:nvCxnSpPr>
        <p:spPr>
          <a:xfrm>
            <a:off x="3428820" y="3220450"/>
            <a:ext cx="0" cy="2678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2" name="图片 171">
            <a:extLst>
              <a:ext uri="{FF2B5EF4-FFF2-40B4-BE49-F238E27FC236}">
                <a16:creationId xmlns:a16="http://schemas.microsoft.com/office/drawing/2014/main" id="{01C0F8E5-5917-4395-95FB-43F1020E79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6007261" y="1620456"/>
            <a:ext cx="3368233" cy="5237543"/>
          </a:xfrm>
          <a:prstGeom prst="rect">
            <a:avLst/>
          </a:prstGeom>
        </p:spPr>
      </p:pic>
      <p:grpSp>
        <p:nvGrpSpPr>
          <p:cNvPr id="63" name="组合 62">
            <a:extLst>
              <a:ext uri="{FF2B5EF4-FFF2-40B4-BE49-F238E27FC236}">
                <a16:creationId xmlns:a16="http://schemas.microsoft.com/office/drawing/2014/main" id="{55BA99C8-497E-43B4-9315-7D945CA61C5A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4" name="Freeform 5">
              <a:extLst>
                <a:ext uri="{FF2B5EF4-FFF2-40B4-BE49-F238E27FC236}">
                  <a16:creationId xmlns:a16="http://schemas.microsoft.com/office/drawing/2014/main" id="{D8C42AC7-FBF4-4F59-B5AC-0667F88374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7">
              <a:extLst>
                <a:ext uri="{FF2B5EF4-FFF2-40B4-BE49-F238E27FC236}">
                  <a16:creationId xmlns:a16="http://schemas.microsoft.com/office/drawing/2014/main" id="{390A5B1C-D966-414F-BF7A-920950751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CF441363-B1BE-4674-97F1-FB2F8835A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7" name="组合 66">
              <a:extLst>
                <a:ext uri="{FF2B5EF4-FFF2-40B4-BE49-F238E27FC236}">
                  <a16:creationId xmlns:a16="http://schemas.microsoft.com/office/drawing/2014/main" id="{6CDEC4D5-857D-4317-B857-A26F02B16617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8" name="Freeform 6">
                <a:extLst>
                  <a:ext uri="{FF2B5EF4-FFF2-40B4-BE49-F238E27FC236}">
                    <a16:creationId xmlns:a16="http://schemas.microsoft.com/office/drawing/2014/main" id="{998992C3-5463-4A64-966A-485458A4FC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0">
                <a:extLst>
                  <a:ext uri="{FF2B5EF4-FFF2-40B4-BE49-F238E27FC236}">
                    <a16:creationId xmlns:a16="http://schemas.microsoft.com/office/drawing/2014/main" id="{E99BD4AD-FFE7-4410-BFC4-4587EF292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3">
                <a:extLst>
                  <a:ext uri="{FF2B5EF4-FFF2-40B4-BE49-F238E27FC236}">
                    <a16:creationId xmlns:a16="http://schemas.microsoft.com/office/drawing/2014/main" id="{BBD464C1-DC20-4D58-8B4B-B911810828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F2C1F0AE-A37D-472B-A1F4-AEFAD528A4B2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3" name="Freeform 9">
                <a:extLst>
                  <a:ext uri="{FF2B5EF4-FFF2-40B4-BE49-F238E27FC236}">
                    <a16:creationId xmlns:a16="http://schemas.microsoft.com/office/drawing/2014/main" id="{AE1D021B-2411-4DBD-B649-5C3E7CB05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11">
                <a:extLst>
                  <a:ext uri="{FF2B5EF4-FFF2-40B4-BE49-F238E27FC236}">
                    <a16:creationId xmlns:a16="http://schemas.microsoft.com/office/drawing/2014/main" id="{4DE56842-0899-433A-ACCF-3CC2FF7821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2">
                <a:extLst>
                  <a:ext uri="{FF2B5EF4-FFF2-40B4-BE49-F238E27FC236}">
                    <a16:creationId xmlns:a16="http://schemas.microsoft.com/office/drawing/2014/main" id="{6AFC5070-5C0B-40DC-A15F-21989A5FA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4">
                <a:extLst>
                  <a:ext uri="{FF2B5EF4-FFF2-40B4-BE49-F238E27FC236}">
                    <a16:creationId xmlns:a16="http://schemas.microsoft.com/office/drawing/2014/main" id="{A6091A60-E52A-4F87-9FFD-18918D04C7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5">
                <a:extLst>
                  <a:ext uri="{FF2B5EF4-FFF2-40B4-BE49-F238E27FC236}">
                    <a16:creationId xmlns:a16="http://schemas.microsoft.com/office/drawing/2014/main" id="{DF192140-B9C4-4E8C-8406-4E64F07C08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7EA888A8-3025-4C3F-A095-F87E20F70E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8FC66122-A6EA-4524-9B97-5FD1AF989D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Oval 18">
              <a:extLst>
                <a:ext uri="{FF2B5EF4-FFF2-40B4-BE49-F238E27FC236}">
                  <a16:creationId xmlns:a16="http://schemas.microsoft.com/office/drawing/2014/main" id="{04426B45-F06E-4401-B6B3-E3DDF77BA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BDAF896D-58CC-4828-B0F3-8D63E41EC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0">
              <a:extLst>
                <a:ext uri="{FF2B5EF4-FFF2-40B4-BE49-F238E27FC236}">
                  <a16:creationId xmlns:a16="http://schemas.microsoft.com/office/drawing/2014/main" id="{F6092DD7-09FD-4EF3-95DB-E2246C20A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1">
              <a:extLst>
                <a:ext uri="{FF2B5EF4-FFF2-40B4-BE49-F238E27FC236}">
                  <a16:creationId xmlns:a16="http://schemas.microsoft.com/office/drawing/2014/main" id="{0E1F64A9-7650-49D5-A476-E046F7B3B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2">
              <a:extLst>
                <a:ext uri="{FF2B5EF4-FFF2-40B4-BE49-F238E27FC236}">
                  <a16:creationId xmlns:a16="http://schemas.microsoft.com/office/drawing/2014/main" id="{9DB1EA6E-A434-4A98-A2D4-5D4D3D3A85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3">
              <a:extLst>
                <a:ext uri="{FF2B5EF4-FFF2-40B4-BE49-F238E27FC236}">
                  <a16:creationId xmlns:a16="http://schemas.microsoft.com/office/drawing/2014/main" id="{00DCD132-B97E-486B-B437-66B4F01C8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4">
              <a:extLst>
                <a:ext uri="{FF2B5EF4-FFF2-40B4-BE49-F238E27FC236}">
                  <a16:creationId xmlns:a16="http://schemas.microsoft.com/office/drawing/2014/main" id="{0186810E-D63A-42F9-95A5-841042676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5">
              <a:extLst>
                <a:ext uri="{FF2B5EF4-FFF2-40B4-BE49-F238E27FC236}">
                  <a16:creationId xmlns:a16="http://schemas.microsoft.com/office/drawing/2014/main" id="{F14090D4-E13E-4A98-A170-7F708D7D9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6">
              <a:extLst>
                <a:ext uri="{FF2B5EF4-FFF2-40B4-BE49-F238E27FC236}">
                  <a16:creationId xmlns:a16="http://schemas.microsoft.com/office/drawing/2014/main" id="{6336AF80-91F6-45BB-98C4-428D92749D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7">
              <a:extLst>
                <a:ext uri="{FF2B5EF4-FFF2-40B4-BE49-F238E27FC236}">
                  <a16:creationId xmlns:a16="http://schemas.microsoft.com/office/drawing/2014/main" id="{06D46C0A-13C5-419B-B452-F74BE16C4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8">
              <a:extLst>
                <a:ext uri="{FF2B5EF4-FFF2-40B4-BE49-F238E27FC236}">
                  <a16:creationId xmlns:a16="http://schemas.microsoft.com/office/drawing/2014/main" id="{3C43DA63-36E3-4FEC-B109-8C3E005162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9">
              <a:extLst>
                <a:ext uri="{FF2B5EF4-FFF2-40B4-BE49-F238E27FC236}">
                  <a16:creationId xmlns:a16="http://schemas.microsoft.com/office/drawing/2014/main" id="{7FA9715F-D994-451E-B03D-5540BAF16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30">
              <a:extLst>
                <a:ext uri="{FF2B5EF4-FFF2-40B4-BE49-F238E27FC236}">
                  <a16:creationId xmlns:a16="http://schemas.microsoft.com/office/drawing/2014/main" id="{10F518EC-A28A-4B91-8377-8920FD92D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1">
              <a:extLst>
                <a:ext uri="{FF2B5EF4-FFF2-40B4-BE49-F238E27FC236}">
                  <a16:creationId xmlns:a16="http://schemas.microsoft.com/office/drawing/2014/main" id="{BAB6F32E-7D31-4324-AC9C-E97F4CA95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2">
              <a:extLst>
                <a:ext uri="{FF2B5EF4-FFF2-40B4-BE49-F238E27FC236}">
                  <a16:creationId xmlns:a16="http://schemas.microsoft.com/office/drawing/2014/main" id="{34FE3A73-6A9B-4E42-8B8E-BF680DC4C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3">
              <a:extLst>
                <a:ext uri="{FF2B5EF4-FFF2-40B4-BE49-F238E27FC236}">
                  <a16:creationId xmlns:a16="http://schemas.microsoft.com/office/drawing/2014/main" id="{0B01EBA1-9588-4BE1-AA60-E63085EBF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4">
              <a:extLst>
                <a:ext uri="{FF2B5EF4-FFF2-40B4-BE49-F238E27FC236}">
                  <a16:creationId xmlns:a16="http://schemas.microsoft.com/office/drawing/2014/main" id="{E4AD221A-7C6F-4BA7-8C0D-CA6D129DB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5">
              <a:extLst>
                <a:ext uri="{FF2B5EF4-FFF2-40B4-BE49-F238E27FC236}">
                  <a16:creationId xmlns:a16="http://schemas.microsoft.com/office/drawing/2014/main" id="{E6EFD526-6AF6-406E-ADB8-C0C27E8F6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6">
              <a:extLst>
                <a:ext uri="{FF2B5EF4-FFF2-40B4-BE49-F238E27FC236}">
                  <a16:creationId xmlns:a16="http://schemas.microsoft.com/office/drawing/2014/main" id="{6A03FC5B-5608-449E-AACA-74D158672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7">
              <a:extLst>
                <a:ext uri="{FF2B5EF4-FFF2-40B4-BE49-F238E27FC236}">
                  <a16:creationId xmlns:a16="http://schemas.microsoft.com/office/drawing/2014/main" id="{2ACA8DD1-4260-4913-B93E-D5F799152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8">
              <a:extLst>
                <a:ext uri="{FF2B5EF4-FFF2-40B4-BE49-F238E27FC236}">
                  <a16:creationId xmlns:a16="http://schemas.microsoft.com/office/drawing/2014/main" id="{F4EA9D90-BC3F-4FFB-A2E2-C86AAB6B3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9">
              <a:extLst>
                <a:ext uri="{FF2B5EF4-FFF2-40B4-BE49-F238E27FC236}">
                  <a16:creationId xmlns:a16="http://schemas.microsoft.com/office/drawing/2014/main" id="{A3D18D48-2409-4C63-836A-8BD7399F4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40">
              <a:extLst>
                <a:ext uri="{FF2B5EF4-FFF2-40B4-BE49-F238E27FC236}">
                  <a16:creationId xmlns:a16="http://schemas.microsoft.com/office/drawing/2014/main" id="{59940A29-A304-4D74-B2B8-A01346331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1">
              <a:extLst>
                <a:ext uri="{FF2B5EF4-FFF2-40B4-BE49-F238E27FC236}">
                  <a16:creationId xmlns:a16="http://schemas.microsoft.com/office/drawing/2014/main" id="{34169937-2E29-4CE9-AC42-3FDAD0070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2">
              <a:extLst>
                <a:ext uri="{FF2B5EF4-FFF2-40B4-BE49-F238E27FC236}">
                  <a16:creationId xmlns:a16="http://schemas.microsoft.com/office/drawing/2014/main" id="{BB5BF2F3-F85A-411B-9823-5CAE0A59D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3">
              <a:extLst>
                <a:ext uri="{FF2B5EF4-FFF2-40B4-BE49-F238E27FC236}">
                  <a16:creationId xmlns:a16="http://schemas.microsoft.com/office/drawing/2014/main" id="{EC94D8BC-6EE3-4DB5-8CFE-1176F4667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44">
              <a:extLst>
                <a:ext uri="{FF2B5EF4-FFF2-40B4-BE49-F238E27FC236}">
                  <a16:creationId xmlns:a16="http://schemas.microsoft.com/office/drawing/2014/main" id="{626AD3D0-D616-4909-A0D8-46C31382B3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5">
              <a:extLst>
                <a:ext uri="{FF2B5EF4-FFF2-40B4-BE49-F238E27FC236}">
                  <a16:creationId xmlns:a16="http://schemas.microsoft.com/office/drawing/2014/main" id="{11605C43-31B3-439C-B0AA-37452F80A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6">
              <a:extLst>
                <a:ext uri="{FF2B5EF4-FFF2-40B4-BE49-F238E27FC236}">
                  <a16:creationId xmlns:a16="http://schemas.microsoft.com/office/drawing/2014/main" id="{9E8F68A5-3449-4D7F-9E08-C9A454FB0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7">
              <a:extLst>
                <a:ext uri="{FF2B5EF4-FFF2-40B4-BE49-F238E27FC236}">
                  <a16:creationId xmlns:a16="http://schemas.microsoft.com/office/drawing/2014/main" id="{A65BD44B-A39C-4AB0-99CA-B81DBDBEE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8">
              <a:extLst>
                <a:ext uri="{FF2B5EF4-FFF2-40B4-BE49-F238E27FC236}">
                  <a16:creationId xmlns:a16="http://schemas.microsoft.com/office/drawing/2014/main" id="{2877A7AF-938A-49E6-BEB4-EFCF87F4B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9">
              <a:extLst>
                <a:ext uri="{FF2B5EF4-FFF2-40B4-BE49-F238E27FC236}">
                  <a16:creationId xmlns:a16="http://schemas.microsoft.com/office/drawing/2014/main" id="{B0252E36-811D-4313-BB14-7DCB7FC5F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662986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653FD491-2AC0-452A-A77F-E69A0CF72C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850D2224-FE42-43FD-8FB5-58E4389FB7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5" name="图片 104">
            <a:extLst>
              <a:ext uri="{FF2B5EF4-FFF2-40B4-BE49-F238E27FC236}">
                <a16:creationId xmlns:a16="http://schemas.microsoft.com/office/drawing/2014/main" id="{4D3BE847-3E2C-460C-B610-30C7A58C9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363" r="1363"/>
          <a:stretch/>
        </p:blipFill>
        <p:spPr>
          <a:xfrm>
            <a:off x="515938" y="-1"/>
            <a:ext cx="3060294" cy="6125618"/>
          </a:xfrm>
          <a:custGeom>
            <a:avLst/>
            <a:gdLst>
              <a:gd name="connsiteX0" fmla="*/ 0 w 3230880"/>
              <a:gd name="connsiteY0" fmla="*/ 0 h 6319777"/>
              <a:gd name="connsiteX1" fmla="*/ 3230880 w 3230880"/>
              <a:gd name="connsiteY1" fmla="*/ 0 h 6319777"/>
              <a:gd name="connsiteX2" fmla="*/ 3230880 w 3230880"/>
              <a:gd name="connsiteY2" fmla="*/ 6319777 h 6319777"/>
              <a:gd name="connsiteX3" fmla="*/ 0 w 3230880"/>
              <a:gd name="connsiteY3" fmla="*/ 6319777 h 6319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0880" h="6319777">
                <a:moveTo>
                  <a:pt x="0" y="0"/>
                </a:moveTo>
                <a:lnTo>
                  <a:pt x="3230880" y="0"/>
                </a:lnTo>
                <a:lnTo>
                  <a:pt x="3230880" y="6319777"/>
                </a:lnTo>
                <a:lnTo>
                  <a:pt x="0" y="6319777"/>
                </a:lnTo>
                <a:close/>
              </a:path>
            </a:pathLst>
          </a:custGeom>
        </p:spPr>
      </p:pic>
      <p:sp>
        <p:nvSpPr>
          <p:cNvPr id="6" name="矩形: 对角圆角 5">
            <a:extLst>
              <a:ext uri="{FF2B5EF4-FFF2-40B4-BE49-F238E27FC236}">
                <a16:creationId xmlns:a16="http://schemas.microsoft.com/office/drawing/2014/main" id="{87C1BAF6-CD80-4476-A97D-B12EB7150263}"/>
              </a:ext>
            </a:extLst>
          </p:cNvPr>
          <p:cNvSpPr/>
          <p:nvPr userDrawn="1"/>
        </p:nvSpPr>
        <p:spPr>
          <a:xfrm>
            <a:off x="679680" y="-1"/>
            <a:ext cx="2732809" cy="6350001"/>
          </a:xfrm>
          <a:prstGeom prst="round2Diag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B43E4518-44DF-4BA4-9D8B-AC6D12BEC8E5}"/>
              </a:ext>
            </a:extLst>
          </p:cNvPr>
          <p:cNvSpPr/>
          <p:nvPr userDrawn="1"/>
        </p:nvSpPr>
        <p:spPr>
          <a:xfrm>
            <a:off x="1365365" y="5860471"/>
            <a:ext cx="10826634" cy="8151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F444119-EFD2-471F-BC65-4DA92CC9BBD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177404" y="2614340"/>
            <a:ext cx="1737360" cy="923330"/>
          </a:xfrm>
        </p:spPr>
        <p:txBody>
          <a:bodyPr lIns="0" tIns="0" rIns="0" bIns="0" anchor="ctr">
            <a:noAutofit/>
          </a:bodyPr>
          <a:lstStyle>
            <a:lvl1pPr marL="0" algn="dist" defTabSz="457200" rtl="0" eaLnBrk="1" latinLnBrk="0" hangingPunct="1">
              <a:lnSpc>
                <a:spcPct val="100000"/>
              </a:lnSpc>
              <a:defRPr lang="en-US" sz="60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目录</a:t>
            </a:r>
            <a:endParaRPr lang="en-US" dirty="0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BDFE553F-B244-43F9-AB44-84DBC23A7FC0}"/>
              </a:ext>
            </a:extLst>
          </p:cNvPr>
          <p:cNvCxnSpPr>
            <a:cxnSpLocks/>
          </p:cNvCxnSpPr>
          <p:nvPr userDrawn="1"/>
        </p:nvCxnSpPr>
        <p:spPr>
          <a:xfrm>
            <a:off x="1223125" y="3738491"/>
            <a:ext cx="1668778" cy="0"/>
          </a:xfrm>
          <a:prstGeom prst="line">
            <a:avLst/>
          </a:prstGeom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10">
            <a:extLst>
              <a:ext uri="{FF2B5EF4-FFF2-40B4-BE49-F238E27FC236}">
                <a16:creationId xmlns:a16="http://schemas.microsoft.com/office/drawing/2014/main" id="{B10E1923-A0C3-4446-8C9E-3F1B2A699160}"/>
              </a:ext>
            </a:extLst>
          </p:cNvPr>
          <p:cNvSpPr/>
          <p:nvPr userDrawn="1"/>
        </p:nvSpPr>
        <p:spPr>
          <a:xfrm>
            <a:off x="1223126" y="5860471"/>
            <a:ext cx="2438399" cy="8151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AA8ED3F-0113-44A0-9FA4-8257C7F78CE2}"/>
              </a:ext>
            </a:extLst>
          </p:cNvPr>
          <p:cNvSpPr txBox="1"/>
          <p:nvPr userDrawn="1"/>
        </p:nvSpPr>
        <p:spPr>
          <a:xfrm>
            <a:off x="1223126" y="5532291"/>
            <a:ext cx="6629399" cy="283292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dist"/>
            <a:r>
              <a:rPr lang="en-US" altLang="zh-CN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CON</a:t>
            </a:r>
            <a:r>
              <a:rPr lang="en-US" altLang="zh-CN" sz="2000" dirty="0">
                <a:solidFill>
                  <a:schemeClr val="accent2"/>
                </a:solidFill>
                <a:latin typeface="Impact" panose="020B0806030902050204" pitchFamily="34" charset="0"/>
              </a:rPr>
              <a:t>TENTS</a:t>
            </a: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014BCD07-5892-4118-909D-9B1F9AA1D936}"/>
              </a:ext>
            </a:extLst>
          </p:cNvPr>
          <p:cNvSpPr txBox="1"/>
          <p:nvPr userDrawn="1"/>
        </p:nvSpPr>
        <p:spPr>
          <a:xfrm>
            <a:off x="1063103" y="2412479"/>
            <a:ext cx="1965962" cy="923330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dist"/>
            <a:r>
              <a:rPr lang="zh-CN" altLang="en-US" sz="6000" b="1" spc="600" dirty="0">
                <a:ln>
                  <a:gradFill>
                    <a:gsLst>
                      <a:gs pos="12000">
                        <a:schemeClr val="bg1"/>
                      </a:gs>
                      <a:gs pos="18000">
                        <a:schemeClr val="bg1">
                          <a:alpha val="5200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noFill/>
              </a:rPr>
              <a:t>目录</a:t>
            </a:r>
            <a:endParaRPr lang="en-US" sz="6000" b="1" spc="600" dirty="0">
              <a:ln>
                <a:gradFill>
                  <a:gsLst>
                    <a:gs pos="12000">
                      <a:schemeClr val="bg1"/>
                    </a:gs>
                    <a:gs pos="18000">
                      <a:schemeClr val="bg1">
                        <a:alpha val="52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</a:ln>
              <a:noFill/>
            </a:endParaRPr>
          </a:p>
        </p:txBody>
      </p: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5A8C2248-7511-45A8-BB6E-7316DC6BC0C5}"/>
              </a:ext>
            </a:extLst>
          </p:cNvPr>
          <p:cNvCxnSpPr>
            <a:cxnSpLocks/>
          </p:cNvCxnSpPr>
          <p:nvPr userDrawn="1"/>
        </p:nvCxnSpPr>
        <p:spPr>
          <a:xfrm>
            <a:off x="1223125" y="3814691"/>
            <a:ext cx="1668778" cy="0"/>
          </a:xfrm>
          <a:prstGeom prst="line">
            <a:avLst/>
          </a:prstGeom>
          <a:ln w="63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0" name="组合 159">
            <a:extLst>
              <a:ext uri="{FF2B5EF4-FFF2-40B4-BE49-F238E27FC236}">
                <a16:creationId xmlns:a16="http://schemas.microsoft.com/office/drawing/2014/main" id="{8B4E7829-0DCF-47B5-A1AB-12C9499E62E4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161" name="Freeform 5">
              <a:extLst>
                <a:ext uri="{FF2B5EF4-FFF2-40B4-BE49-F238E27FC236}">
                  <a16:creationId xmlns:a16="http://schemas.microsoft.com/office/drawing/2014/main" id="{A68B6A54-355F-4890-8BCF-38F6E8A801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7">
              <a:extLst>
                <a:ext uri="{FF2B5EF4-FFF2-40B4-BE49-F238E27FC236}">
                  <a16:creationId xmlns:a16="http://schemas.microsoft.com/office/drawing/2014/main" id="{1128E89B-6EC9-4D91-B9E6-436A75931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8">
              <a:extLst>
                <a:ext uri="{FF2B5EF4-FFF2-40B4-BE49-F238E27FC236}">
                  <a16:creationId xmlns:a16="http://schemas.microsoft.com/office/drawing/2014/main" id="{87218A4F-0E8F-4C33-9573-79733321B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64" name="组合 163">
              <a:extLst>
                <a:ext uri="{FF2B5EF4-FFF2-40B4-BE49-F238E27FC236}">
                  <a16:creationId xmlns:a16="http://schemas.microsoft.com/office/drawing/2014/main" id="{4A6F2343-8A34-4720-AB37-64781719391A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205" name="Freeform 6">
                <a:extLst>
                  <a:ext uri="{FF2B5EF4-FFF2-40B4-BE49-F238E27FC236}">
                    <a16:creationId xmlns:a16="http://schemas.microsoft.com/office/drawing/2014/main" id="{E4215790-3F09-4924-9257-45A7532EAE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10">
                <a:extLst>
                  <a:ext uri="{FF2B5EF4-FFF2-40B4-BE49-F238E27FC236}">
                    <a16:creationId xmlns:a16="http://schemas.microsoft.com/office/drawing/2014/main" id="{1D8F24C9-F598-416B-ADDF-8FD6694993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13">
                <a:extLst>
                  <a:ext uri="{FF2B5EF4-FFF2-40B4-BE49-F238E27FC236}">
                    <a16:creationId xmlns:a16="http://schemas.microsoft.com/office/drawing/2014/main" id="{5614E6AA-9923-409C-8807-8FE9072492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5" name="组合 164">
              <a:extLst>
                <a:ext uri="{FF2B5EF4-FFF2-40B4-BE49-F238E27FC236}">
                  <a16:creationId xmlns:a16="http://schemas.microsoft.com/office/drawing/2014/main" id="{0DE1D053-A45C-4D15-9D10-1DAFEEF9BDE6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200" name="Freeform 9">
                <a:extLst>
                  <a:ext uri="{FF2B5EF4-FFF2-40B4-BE49-F238E27FC236}">
                    <a16:creationId xmlns:a16="http://schemas.microsoft.com/office/drawing/2014/main" id="{91C3AF4B-2E32-429D-B25A-042880B98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11">
                <a:extLst>
                  <a:ext uri="{FF2B5EF4-FFF2-40B4-BE49-F238E27FC236}">
                    <a16:creationId xmlns:a16="http://schemas.microsoft.com/office/drawing/2014/main" id="{E107A670-024B-415A-B5D0-034F223864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12">
                <a:extLst>
                  <a:ext uri="{FF2B5EF4-FFF2-40B4-BE49-F238E27FC236}">
                    <a16:creationId xmlns:a16="http://schemas.microsoft.com/office/drawing/2014/main" id="{5193F325-894D-4313-A16C-4F47AEBE9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14">
                <a:extLst>
                  <a:ext uri="{FF2B5EF4-FFF2-40B4-BE49-F238E27FC236}">
                    <a16:creationId xmlns:a16="http://schemas.microsoft.com/office/drawing/2014/main" id="{4D919A8F-210C-4F42-85BE-3D9E50EAF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15">
                <a:extLst>
                  <a:ext uri="{FF2B5EF4-FFF2-40B4-BE49-F238E27FC236}">
                    <a16:creationId xmlns:a16="http://schemas.microsoft.com/office/drawing/2014/main" id="{407F100B-3B1F-4E9F-8380-1E2A40E9D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6" name="Freeform 16">
              <a:extLst>
                <a:ext uri="{FF2B5EF4-FFF2-40B4-BE49-F238E27FC236}">
                  <a16:creationId xmlns:a16="http://schemas.microsoft.com/office/drawing/2014/main" id="{B29C1DF8-0D00-493A-A8B5-30EC4D9AF0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7">
              <a:extLst>
                <a:ext uri="{FF2B5EF4-FFF2-40B4-BE49-F238E27FC236}">
                  <a16:creationId xmlns:a16="http://schemas.microsoft.com/office/drawing/2014/main" id="{73D47FDF-25B8-4BE5-AFC6-07BD7CD505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Oval 18">
              <a:extLst>
                <a:ext uri="{FF2B5EF4-FFF2-40B4-BE49-F238E27FC236}">
                  <a16:creationId xmlns:a16="http://schemas.microsoft.com/office/drawing/2014/main" id="{B90F52EC-9474-4B9B-B750-15993DF958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9">
              <a:extLst>
                <a:ext uri="{FF2B5EF4-FFF2-40B4-BE49-F238E27FC236}">
                  <a16:creationId xmlns:a16="http://schemas.microsoft.com/office/drawing/2014/main" id="{4DBF6C14-03E1-438F-8A5D-A6793C2D2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0">
              <a:extLst>
                <a:ext uri="{FF2B5EF4-FFF2-40B4-BE49-F238E27FC236}">
                  <a16:creationId xmlns:a16="http://schemas.microsoft.com/office/drawing/2014/main" id="{EBCBCBCE-B007-483F-88F1-5C0E9C5BC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1">
              <a:extLst>
                <a:ext uri="{FF2B5EF4-FFF2-40B4-BE49-F238E27FC236}">
                  <a16:creationId xmlns:a16="http://schemas.microsoft.com/office/drawing/2014/main" id="{DDCD85E3-5F8A-48A0-A03B-A90D56A78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2">
              <a:extLst>
                <a:ext uri="{FF2B5EF4-FFF2-40B4-BE49-F238E27FC236}">
                  <a16:creationId xmlns:a16="http://schemas.microsoft.com/office/drawing/2014/main" id="{31A77567-2C94-4D0F-AAFE-A4CAB0E440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23">
              <a:extLst>
                <a:ext uri="{FF2B5EF4-FFF2-40B4-BE49-F238E27FC236}">
                  <a16:creationId xmlns:a16="http://schemas.microsoft.com/office/drawing/2014/main" id="{70AA48EC-4891-4A87-8B30-FE854812E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24">
              <a:extLst>
                <a:ext uri="{FF2B5EF4-FFF2-40B4-BE49-F238E27FC236}">
                  <a16:creationId xmlns:a16="http://schemas.microsoft.com/office/drawing/2014/main" id="{A807731D-71AE-45E7-854E-FC68599AF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25">
              <a:extLst>
                <a:ext uri="{FF2B5EF4-FFF2-40B4-BE49-F238E27FC236}">
                  <a16:creationId xmlns:a16="http://schemas.microsoft.com/office/drawing/2014/main" id="{8A62B9B7-F471-4133-9695-6A83293F57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26">
              <a:extLst>
                <a:ext uri="{FF2B5EF4-FFF2-40B4-BE49-F238E27FC236}">
                  <a16:creationId xmlns:a16="http://schemas.microsoft.com/office/drawing/2014/main" id="{BAC68DFC-3C52-48FA-A47E-5EDFAF455E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27">
              <a:extLst>
                <a:ext uri="{FF2B5EF4-FFF2-40B4-BE49-F238E27FC236}">
                  <a16:creationId xmlns:a16="http://schemas.microsoft.com/office/drawing/2014/main" id="{903A6D13-DF51-40B5-A906-F46305677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28">
              <a:extLst>
                <a:ext uri="{FF2B5EF4-FFF2-40B4-BE49-F238E27FC236}">
                  <a16:creationId xmlns:a16="http://schemas.microsoft.com/office/drawing/2014/main" id="{7BE0A86A-2C54-4613-9CAE-CA7B8E5EDE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29">
              <a:extLst>
                <a:ext uri="{FF2B5EF4-FFF2-40B4-BE49-F238E27FC236}">
                  <a16:creationId xmlns:a16="http://schemas.microsoft.com/office/drawing/2014/main" id="{4C9089E0-62E0-4D59-BF08-DA8ABE721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0">
              <a:extLst>
                <a:ext uri="{FF2B5EF4-FFF2-40B4-BE49-F238E27FC236}">
                  <a16:creationId xmlns:a16="http://schemas.microsoft.com/office/drawing/2014/main" id="{630BE8ED-EFDD-4106-9169-E8C9366B6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1">
              <a:extLst>
                <a:ext uri="{FF2B5EF4-FFF2-40B4-BE49-F238E27FC236}">
                  <a16:creationId xmlns:a16="http://schemas.microsoft.com/office/drawing/2014/main" id="{AB7E6546-CB20-446C-B7F9-CB31733F5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2">
              <a:extLst>
                <a:ext uri="{FF2B5EF4-FFF2-40B4-BE49-F238E27FC236}">
                  <a16:creationId xmlns:a16="http://schemas.microsoft.com/office/drawing/2014/main" id="{0F9DD96F-343D-45F2-821A-878A25062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33">
              <a:extLst>
                <a:ext uri="{FF2B5EF4-FFF2-40B4-BE49-F238E27FC236}">
                  <a16:creationId xmlns:a16="http://schemas.microsoft.com/office/drawing/2014/main" id="{5C16E4E1-D4FA-4B56-B54F-D39E66FAC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4">
              <a:extLst>
                <a:ext uri="{FF2B5EF4-FFF2-40B4-BE49-F238E27FC236}">
                  <a16:creationId xmlns:a16="http://schemas.microsoft.com/office/drawing/2014/main" id="{730DF3B4-C8C7-4D5D-B3C0-48A0DC1CA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5">
              <a:extLst>
                <a:ext uri="{FF2B5EF4-FFF2-40B4-BE49-F238E27FC236}">
                  <a16:creationId xmlns:a16="http://schemas.microsoft.com/office/drawing/2014/main" id="{C914EDD6-4EC5-4876-AD61-7A69A45CC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6">
              <a:extLst>
                <a:ext uri="{FF2B5EF4-FFF2-40B4-BE49-F238E27FC236}">
                  <a16:creationId xmlns:a16="http://schemas.microsoft.com/office/drawing/2014/main" id="{80C7CC6C-017F-412F-8B25-519DEEF92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7">
              <a:extLst>
                <a:ext uri="{FF2B5EF4-FFF2-40B4-BE49-F238E27FC236}">
                  <a16:creationId xmlns:a16="http://schemas.microsoft.com/office/drawing/2014/main" id="{E94B63AB-0A58-4CCE-86F6-64C839E37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8">
              <a:extLst>
                <a:ext uri="{FF2B5EF4-FFF2-40B4-BE49-F238E27FC236}">
                  <a16:creationId xmlns:a16="http://schemas.microsoft.com/office/drawing/2014/main" id="{3B447A63-8C4A-4CB9-910E-CDF481EEF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9">
              <a:extLst>
                <a:ext uri="{FF2B5EF4-FFF2-40B4-BE49-F238E27FC236}">
                  <a16:creationId xmlns:a16="http://schemas.microsoft.com/office/drawing/2014/main" id="{948EA15D-40AB-47A3-BD74-14A5223D5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0">
              <a:extLst>
                <a:ext uri="{FF2B5EF4-FFF2-40B4-BE49-F238E27FC236}">
                  <a16:creationId xmlns:a16="http://schemas.microsoft.com/office/drawing/2014/main" id="{93EEB519-F7A5-4390-BCC4-27E2AD7E3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1">
              <a:extLst>
                <a:ext uri="{FF2B5EF4-FFF2-40B4-BE49-F238E27FC236}">
                  <a16:creationId xmlns:a16="http://schemas.microsoft.com/office/drawing/2014/main" id="{C3608A0F-1F75-4A86-979A-CCB0A54E5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2">
              <a:extLst>
                <a:ext uri="{FF2B5EF4-FFF2-40B4-BE49-F238E27FC236}">
                  <a16:creationId xmlns:a16="http://schemas.microsoft.com/office/drawing/2014/main" id="{4C4C1B36-D2FE-48E8-BCEC-49EAE743B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43">
              <a:extLst>
                <a:ext uri="{FF2B5EF4-FFF2-40B4-BE49-F238E27FC236}">
                  <a16:creationId xmlns:a16="http://schemas.microsoft.com/office/drawing/2014/main" id="{5887D954-6E06-4D35-9886-AC070490D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44">
              <a:extLst>
                <a:ext uri="{FF2B5EF4-FFF2-40B4-BE49-F238E27FC236}">
                  <a16:creationId xmlns:a16="http://schemas.microsoft.com/office/drawing/2014/main" id="{0FDAA75B-F182-4F28-977F-99B7FB37FB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45">
              <a:extLst>
                <a:ext uri="{FF2B5EF4-FFF2-40B4-BE49-F238E27FC236}">
                  <a16:creationId xmlns:a16="http://schemas.microsoft.com/office/drawing/2014/main" id="{8E2CFBAC-D9B4-4650-ACA3-2680452DA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46">
              <a:extLst>
                <a:ext uri="{FF2B5EF4-FFF2-40B4-BE49-F238E27FC236}">
                  <a16:creationId xmlns:a16="http://schemas.microsoft.com/office/drawing/2014/main" id="{A3800EE1-60DD-4A5B-9B16-439E9BF30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7">
              <a:extLst>
                <a:ext uri="{FF2B5EF4-FFF2-40B4-BE49-F238E27FC236}">
                  <a16:creationId xmlns:a16="http://schemas.microsoft.com/office/drawing/2014/main" id="{AF5D9E63-6DC6-40AA-9F43-36784BFCA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48">
              <a:extLst>
                <a:ext uri="{FF2B5EF4-FFF2-40B4-BE49-F238E27FC236}">
                  <a16:creationId xmlns:a16="http://schemas.microsoft.com/office/drawing/2014/main" id="{850B73A5-538E-47CA-BDC2-D1A489973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49">
              <a:extLst>
                <a:ext uri="{FF2B5EF4-FFF2-40B4-BE49-F238E27FC236}">
                  <a16:creationId xmlns:a16="http://schemas.microsoft.com/office/drawing/2014/main" id="{38C82AFF-B058-460D-87B5-EA0BC36EF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4" name="矩形: 对角圆角 63">
            <a:extLst>
              <a:ext uri="{FF2B5EF4-FFF2-40B4-BE49-F238E27FC236}">
                <a16:creationId xmlns:a16="http://schemas.microsoft.com/office/drawing/2014/main" id="{017EC888-1B08-419D-8FF5-AC2ADC75A9F0}"/>
              </a:ext>
            </a:extLst>
          </p:cNvPr>
          <p:cNvSpPr/>
          <p:nvPr/>
        </p:nvSpPr>
        <p:spPr>
          <a:xfrm>
            <a:off x="4026405" y="1878330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6DBEBD04-7261-4462-8BA5-3212F5F530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9476" y="1485900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5" name="文本占位符 6">
            <a:extLst>
              <a:ext uri="{FF2B5EF4-FFF2-40B4-BE49-F238E27FC236}">
                <a16:creationId xmlns:a16="http://schemas.microsoft.com/office/drawing/2014/main" id="{67F8D024-38D3-46ED-A55E-5EAD7FAE8D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29476" y="1849582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6" name="文本占位符 6">
            <a:extLst>
              <a:ext uri="{FF2B5EF4-FFF2-40B4-BE49-F238E27FC236}">
                <a16:creationId xmlns:a16="http://schemas.microsoft.com/office/drawing/2014/main" id="{E1F59F76-EAFA-4867-A5F2-5EEB277E17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92304" y="1358654"/>
            <a:ext cx="748923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1</a:t>
            </a:r>
            <a:endParaRPr lang="en-US" dirty="0"/>
          </a:p>
        </p:txBody>
      </p:sp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2F648B2D-C42B-4263-918E-808C24059630}"/>
              </a:ext>
            </a:extLst>
          </p:cNvPr>
          <p:cNvCxnSpPr/>
          <p:nvPr/>
        </p:nvCxnSpPr>
        <p:spPr>
          <a:xfrm>
            <a:off x="4829476" y="2060448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矩形: 对角圆角 99">
            <a:extLst>
              <a:ext uri="{FF2B5EF4-FFF2-40B4-BE49-F238E27FC236}">
                <a16:creationId xmlns:a16="http://schemas.microsoft.com/office/drawing/2014/main" id="{D34ED4AF-0CEA-4701-A551-B7A3200DB502}"/>
              </a:ext>
            </a:extLst>
          </p:cNvPr>
          <p:cNvSpPr/>
          <p:nvPr userDrawn="1"/>
        </p:nvSpPr>
        <p:spPr>
          <a:xfrm>
            <a:off x="4026405" y="3220993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01" name="文本占位符 6">
            <a:extLst>
              <a:ext uri="{FF2B5EF4-FFF2-40B4-BE49-F238E27FC236}">
                <a16:creationId xmlns:a16="http://schemas.microsoft.com/office/drawing/2014/main" id="{C4C11485-7693-4FB7-977E-DA51B1E82B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9476" y="2828563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2" name="文本占位符 6">
            <a:extLst>
              <a:ext uri="{FF2B5EF4-FFF2-40B4-BE49-F238E27FC236}">
                <a16:creationId xmlns:a16="http://schemas.microsoft.com/office/drawing/2014/main" id="{820063A4-CDA1-4722-98D3-27AB131CC0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29476" y="3192245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3" name="文本占位符 6">
            <a:extLst>
              <a:ext uri="{FF2B5EF4-FFF2-40B4-BE49-F238E27FC236}">
                <a16:creationId xmlns:a16="http://schemas.microsoft.com/office/drawing/2014/main" id="{62F04932-DBA2-42F8-B7F2-1D6D71B2D3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4633" y="2701317"/>
            <a:ext cx="824265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2</a:t>
            </a:r>
            <a:endParaRPr lang="en-US" dirty="0"/>
          </a:p>
        </p:txBody>
      </p:sp>
      <p:cxnSp>
        <p:nvCxnSpPr>
          <p:cNvPr id="104" name="直接连接符 103">
            <a:extLst>
              <a:ext uri="{FF2B5EF4-FFF2-40B4-BE49-F238E27FC236}">
                <a16:creationId xmlns:a16="http://schemas.microsoft.com/office/drawing/2014/main" id="{91646922-E18D-4BA4-BB63-1572DEF8A000}"/>
              </a:ext>
            </a:extLst>
          </p:cNvPr>
          <p:cNvCxnSpPr/>
          <p:nvPr userDrawn="1"/>
        </p:nvCxnSpPr>
        <p:spPr>
          <a:xfrm>
            <a:off x="4829476" y="3403111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矩形: 对角圆角 105">
            <a:extLst>
              <a:ext uri="{FF2B5EF4-FFF2-40B4-BE49-F238E27FC236}">
                <a16:creationId xmlns:a16="http://schemas.microsoft.com/office/drawing/2014/main" id="{6EB1ECD3-645D-4E65-A448-DD3745F2F7A9}"/>
              </a:ext>
            </a:extLst>
          </p:cNvPr>
          <p:cNvSpPr/>
          <p:nvPr userDrawn="1"/>
        </p:nvSpPr>
        <p:spPr>
          <a:xfrm>
            <a:off x="4026405" y="4563656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07" name="文本占位符 6">
            <a:extLst>
              <a:ext uri="{FF2B5EF4-FFF2-40B4-BE49-F238E27FC236}">
                <a16:creationId xmlns:a16="http://schemas.microsoft.com/office/drawing/2014/main" id="{E13DF381-6895-4E29-85DB-068048B5062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29476" y="4171226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8" name="文本占位符 6">
            <a:extLst>
              <a:ext uri="{FF2B5EF4-FFF2-40B4-BE49-F238E27FC236}">
                <a16:creationId xmlns:a16="http://schemas.microsoft.com/office/drawing/2014/main" id="{13F49DA5-179F-4765-B2FB-9E40F4235F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29476" y="4534908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9" name="文本占位符 6">
            <a:extLst>
              <a:ext uri="{FF2B5EF4-FFF2-40B4-BE49-F238E27FC236}">
                <a16:creationId xmlns:a16="http://schemas.microsoft.com/office/drawing/2014/main" id="{C6640CEE-D780-4E71-B6FE-6920A8CAA9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5817" y="4043980"/>
            <a:ext cx="841897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3</a:t>
            </a:r>
            <a:endParaRPr lang="en-US" dirty="0"/>
          </a:p>
        </p:txBody>
      </p:sp>
      <p:cxnSp>
        <p:nvCxnSpPr>
          <p:cNvPr id="110" name="直接连接符 109">
            <a:extLst>
              <a:ext uri="{FF2B5EF4-FFF2-40B4-BE49-F238E27FC236}">
                <a16:creationId xmlns:a16="http://schemas.microsoft.com/office/drawing/2014/main" id="{A14F1407-55D2-4C41-A21B-E8DEE7FA0758}"/>
              </a:ext>
            </a:extLst>
          </p:cNvPr>
          <p:cNvCxnSpPr/>
          <p:nvPr userDrawn="1"/>
        </p:nvCxnSpPr>
        <p:spPr>
          <a:xfrm>
            <a:off x="4829476" y="4745774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矩形: 对角圆角 110">
            <a:extLst>
              <a:ext uri="{FF2B5EF4-FFF2-40B4-BE49-F238E27FC236}">
                <a16:creationId xmlns:a16="http://schemas.microsoft.com/office/drawing/2014/main" id="{EB5B0D8E-7584-4772-B3B0-0801E2631A72}"/>
              </a:ext>
            </a:extLst>
          </p:cNvPr>
          <p:cNvSpPr/>
          <p:nvPr userDrawn="1"/>
        </p:nvSpPr>
        <p:spPr>
          <a:xfrm>
            <a:off x="8224506" y="1878330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12" name="文本占位符 6">
            <a:extLst>
              <a:ext uri="{FF2B5EF4-FFF2-40B4-BE49-F238E27FC236}">
                <a16:creationId xmlns:a16="http://schemas.microsoft.com/office/drawing/2014/main" id="{3C8EF4F2-618A-4097-86E0-A3F80DFD8B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27577" y="1485900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3" name="文本占位符 6">
            <a:extLst>
              <a:ext uri="{FF2B5EF4-FFF2-40B4-BE49-F238E27FC236}">
                <a16:creationId xmlns:a16="http://schemas.microsoft.com/office/drawing/2014/main" id="{EF1E3635-E47D-4C88-A48C-3C8B817A76E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27577" y="1849582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4" name="文本占位符 6">
            <a:extLst>
              <a:ext uri="{FF2B5EF4-FFF2-40B4-BE49-F238E27FC236}">
                <a16:creationId xmlns:a16="http://schemas.microsoft.com/office/drawing/2014/main" id="{BA89C28E-219D-4EE7-8814-6188E1FC7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53536" y="1358654"/>
            <a:ext cx="822661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4</a:t>
            </a:r>
            <a:endParaRPr lang="en-US" dirty="0"/>
          </a:p>
        </p:txBody>
      </p:sp>
      <p:cxnSp>
        <p:nvCxnSpPr>
          <p:cNvPr id="115" name="直接连接符 114">
            <a:extLst>
              <a:ext uri="{FF2B5EF4-FFF2-40B4-BE49-F238E27FC236}">
                <a16:creationId xmlns:a16="http://schemas.microsoft.com/office/drawing/2014/main" id="{D33979DD-A8FF-44C3-B04E-CCCE0D23D25B}"/>
              </a:ext>
            </a:extLst>
          </p:cNvPr>
          <p:cNvCxnSpPr/>
          <p:nvPr userDrawn="1"/>
        </p:nvCxnSpPr>
        <p:spPr>
          <a:xfrm>
            <a:off x="9027577" y="2060448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矩形: 对角圆角 115">
            <a:extLst>
              <a:ext uri="{FF2B5EF4-FFF2-40B4-BE49-F238E27FC236}">
                <a16:creationId xmlns:a16="http://schemas.microsoft.com/office/drawing/2014/main" id="{01D125E1-67B0-4F55-9CCF-C1C7BF76F53F}"/>
              </a:ext>
            </a:extLst>
          </p:cNvPr>
          <p:cNvSpPr/>
          <p:nvPr userDrawn="1"/>
        </p:nvSpPr>
        <p:spPr>
          <a:xfrm>
            <a:off x="8224506" y="3220993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17" name="文本占位符 6">
            <a:extLst>
              <a:ext uri="{FF2B5EF4-FFF2-40B4-BE49-F238E27FC236}">
                <a16:creationId xmlns:a16="http://schemas.microsoft.com/office/drawing/2014/main" id="{AE674B68-5030-4BEF-975C-433F331567F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7577" y="2828563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8" name="文本占位符 6">
            <a:extLst>
              <a:ext uri="{FF2B5EF4-FFF2-40B4-BE49-F238E27FC236}">
                <a16:creationId xmlns:a16="http://schemas.microsoft.com/office/drawing/2014/main" id="{40E6D92D-C3D4-44CC-AB97-65E8A2A02C9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27577" y="3192245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9" name="文本占位符 6">
            <a:extLst>
              <a:ext uri="{FF2B5EF4-FFF2-40B4-BE49-F238E27FC236}">
                <a16:creationId xmlns:a16="http://schemas.microsoft.com/office/drawing/2014/main" id="{6FC6D5CB-D936-49C0-8092-65457ADF17D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42315" y="2701317"/>
            <a:ext cx="845104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5</a:t>
            </a:r>
            <a:endParaRPr lang="en-US" dirty="0"/>
          </a:p>
        </p:txBody>
      </p:sp>
      <p:cxnSp>
        <p:nvCxnSpPr>
          <p:cNvPr id="120" name="直接连接符 119">
            <a:extLst>
              <a:ext uri="{FF2B5EF4-FFF2-40B4-BE49-F238E27FC236}">
                <a16:creationId xmlns:a16="http://schemas.microsoft.com/office/drawing/2014/main" id="{272B64A1-2013-412A-B958-BB008638AC48}"/>
              </a:ext>
            </a:extLst>
          </p:cNvPr>
          <p:cNvCxnSpPr/>
          <p:nvPr userDrawn="1"/>
        </p:nvCxnSpPr>
        <p:spPr>
          <a:xfrm>
            <a:off x="9027577" y="3403111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矩形: 对角圆角 120">
            <a:extLst>
              <a:ext uri="{FF2B5EF4-FFF2-40B4-BE49-F238E27FC236}">
                <a16:creationId xmlns:a16="http://schemas.microsoft.com/office/drawing/2014/main" id="{776A91F9-66B2-4539-A725-3C51B9B480AD}"/>
              </a:ext>
            </a:extLst>
          </p:cNvPr>
          <p:cNvSpPr/>
          <p:nvPr userDrawn="1"/>
        </p:nvSpPr>
        <p:spPr>
          <a:xfrm>
            <a:off x="8224506" y="4563656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2" name="文本占位符 6">
            <a:extLst>
              <a:ext uri="{FF2B5EF4-FFF2-40B4-BE49-F238E27FC236}">
                <a16:creationId xmlns:a16="http://schemas.microsoft.com/office/drawing/2014/main" id="{D5256942-D190-4241-B9B7-7EA2926AE8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7577" y="4171226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3" name="文本占位符 6">
            <a:extLst>
              <a:ext uri="{FF2B5EF4-FFF2-40B4-BE49-F238E27FC236}">
                <a16:creationId xmlns:a16="http://schemas.microsoft.com/office/drawing/2014/main" id="{6B67EA4D-907C-4A5C-AEC6-56B00158C9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7577" y="4534908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4" name="文本占位符 6">
            <a:extLst>
              <a:ext uri="{FF2B5EF4-FFF2-40B4-BE49-F238E27FC236}">
                <a16:creationId xmlns:a16="http://schemas.microsoft.com/office/drawing/2014/main" id="{5B5542B2-C1AA-4156-A03B-0B9373ACB49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40712" y="4043980"/>
            <a:ext cx="848309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6</a:t>
            </a:r>
            <a:endParaRPr lang="en-US" dirty="0"/>
          </a:p>
        </p:txBody>
      </p: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ECF8C261-A37B-49E5-B9AE-A2E498F5A455}"/>
              </a:ext>
            </a:extLst>
          </p:cNvPr>
          <p:cNvCxnSpPr/>
          <p:nvPr userDrawn="1"/>
        </p:nvCxnSpPr>
        <p:spPr>
          <a:xfrm>
            <a:off x="9027577" y="4745774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96024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B8850783-F01C-4BB5-93FB-B7428E3120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28665"/>
          <a:stretch/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477E5AE2-2F16-4C77-B571-6C04E74C9CF0}"/>
              </a:ext>
            </a:extLst>
          </p:cNvPr>
          <p:cNvSpPr/>
          <p:nvPr userDrawn="1"/>
        </p:nvSpPr>
        <p:spPr>
          <a:xfrm>
            <a:off x="2395959" y="0"/>
            <a:ext cx="9796041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6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8475633C-A98C-4DA3-A7C3-1B03B24837E9}"/>
              </a:ext>
            </a:extLst>
          </p:cNvPr>
          <p:cNvSpPr/>
          <p:nvPr userDrawn="1"/>
        </p:nvSpPr>
        <p:spPr>
          <a:xfrm>
            <a:off x="3945817" y="6424560"/>
            <a:ext cx="8246182" cy="50613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B00C7880-1BE7-4199-93A4-337D5126405A}"/>
              </a:ext>
            </a:extLst>
          </p:cNvPr>
          <p:cNvSpPr txBox="1"/>
          <p:nvPr userDrawn="1"/>
        </p:nvSpPr>
        <p:spPr>
          <a:xfrm>
            <a:off x="5568738" y="1097451"/>
            <a:ext cx="4583313" cy="548469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dist"/>
            <a:r>
              <a:rPr lang="en-US" altLang="zh-CN" sz="440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latin typeface="Impact" panose="020B0806030902050204" pitchFamily="34" charset="0"/>
              </a:rPr>
              <a:t>CONTENTS</a:t>
            </a:r>
          </a:p>
        </p:txBody>
      </p:sp>
      <p:sp>
        <p:nvSpPr>
          <p:cNvPr id="99" name="标题 1">
            <a:extLst>
              <a:ext uri="{FF2B5EF4-FFF2-40B4-BE49-F238E27FC236}">
                <a16:creationId xmlns:a16="http://schemas.microsoft.com/office/drawing/2014/main" id="{17D4067B-69D2-4AE7-BE53-6F8DD529DD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92304" y="740780"/>
            <a:ext cx="1748739" cy="877847"/>
          </a:xfrm>
        </p:spPr>
        <p:txBody>
          <a:bodyPr lIns="0" tIns="0" rIns="0" bIns="0" anchor="ctr">
            <a:noAutofit/>
          </a:bodyPr>
          <a:lstStyle>
            <a:lvl1pPr marL="0" algn="dist" defTabSz="457200" rtl="0" eaLnBrk="1" latinLnBrk="0" hangingPunct="1">
              <a:lnSpc>
                <a:spcPct val="100000"/>
              </a:lnSpc>
              <a:defRPr lang="en-US" sz="6000" b="1" kern="1200" spc="6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目录</a:t>
            </a:r>
            <a:endParaRPr lang="en-US" dirty="0"/>
          </a:p>
        </p:txBody>
      </p:sp>
      <p:cxnSp>
        <p:nvCxnSpPr>
          <p:cNvPr id="97" name="直接连接符 96">
            <a:extLst>
              <a:ext uri="{FF2B5EF4-FFF2-40B4-BE49-F238E27FC236}">
                <a16:creationId xmlns:a16="http://schemas.microsoft.com/office/drawing/2014/main" id="{2C528B14-A503-4B80-9934-D51E6BCBDD83}"/>
              </a:ext>
            </a:extLst>
          </p:cNvPr>
          <p:cNvCxnSpPr>
            <a:cxnSpLocks/>
          </p:cNvCxnSpPr>
          <p:nvPr userDrawn="1"/>
        </p:nvCxnSpPr>
        <p:spPr>
          <a:xfrm>
            <a:off x="3992304" y="1652733"/>
            <a:ext cx="1748739" cy="0"/>
          </a:xfrm>
          <a:prstGeom prst="line">
            <a:avLst/>
          </a:prstGeom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接连接符 97">
            <a:extLst>
              <a:ext uri="{FF2B5EF4-FFF2-40B4-BE49-F238E27FC236}">
                <a16:creationId xmlns:a16="http://schemas.microsoft.com/office/drawing/2014/main" id="{61882547-26F1-4535-B229-DDC79C5AF148}"/>
              </a:ext>
            </a:extLst>
          </p:cNvPr>
          <p:cNvCxnSpPr>
            <a:cxnSpLocks/>
          </p:cNvCxnSpPr>
          <p:nvPr userDrawn="1"/>
        </p:nvCxnSpPr>
        <p:spPr>
          <a:xfrm>
            <a:off x="3992304" y="1728933"/>
            <a:ext cx="1748739" cy="0"/>
          </a:xfrm>
          <a:prstGeom prst="line">
            <a:avLst/>
          </a:prstGeom>
          <a:ln w="63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7" name="组合 156">
            <a:extLst>
              <a:ext uri="{FF2B5EF4-FFF2-40B4-BE49-F238E27FC236}">
                <a16:creationId xmlns:a16="http://schemas.microsoft.com/office/drawing/2014/main" id="{D5CBC854-720D-4B0F-A042-31962634E431}"/>
              </a:ext>
            </a:extLst>
          </p:cNvPr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158" name="Freeform 5">
              <a:extLst>
                <a:ext uri="{FF2B5EF4-FFF2-40B4-BE49-F238E27FC236}">
                  <a16:creationId xmlns:a16="http://schemas.microsoft.com/office/drawing/2014/main" id="{EB0BE4A6-C34A-4C77-8638-DFBEBD227F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7">
              <a:extLst>
                <a:ext uri="{FF2B5EF4-FFF2-40B4-BE49-F238E27FC236}">
                  <a16:creationId xmlns:a16="http://schemas.microsoft.com/office/drawing/2014/main" id="{EF5055BE-7AD3-466B-9D8C-29A831E48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8">
              <a:extLst>
                <a:ext uri="{FF2B5EF4-FFF2-40B4-BE49-F238E27FC236}">
                  <a16:creationId xmlns:a16="http://schemas.microsoft.com/office/drawing/2014/main" id="{26B4B71E-81D6-44F0-B9AB-6F9FA14F8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61" name="组合 160">
              <a:extLst>
                <a:ext uri="{FF2B5EF4-FFF2-40B4-BE49-F238E27FC236}">
                  <a16:creationId xmlns:a16="http://schemas.microsoft.com/office/drawing/2014/main" id="{BFF88E71-32E9-4032-B14D-63E9AB1DFC32}"/>
                </a:ext>
              </a:extLst>
            </p:cNvPr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202" name="Freeform 6">
                <a:extLst>
                  <a:ext uri="{FF2B5EF4-FFF2-40B4-BE49-F238E27FC236}">
                    <a16:creationId xmlns:a16="http://schemas.microsoft.com/office/drawing/2014/main" id="{5C5835F6-6A1A-4936-B4A8-AD91956CAA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10">
                <a:extLst>
                  <a:ext uri="{FF2B5EF4-FFF2-40B4-BE49-F238E27FC236}">
                    <a16:creationId xmlns:a16="http://schemas.microsoft.com/office/drawing/2014/main" id="{655DAE01-CBF9-499F-9AFB-7500A5577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13">
                <a:extLst>
                  <a:ext uri="{FF2B5EF4-FFF2-40B4-BE49-F238E27FC236}">
                    <a16:creationId xmlns:a16="http://schemas.microsoft.com/office/drawing/2014/main" id="{0AC60BB9-27B9-412A-AACC-3689B1B64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2" name="组合 161">
              <a:extLst>
                <a:ext uri="{FF2B5EF4-FFF2-40B4-BE49-F238E27FC236}">
                  <a16:creationId xmlns:a16="http://schemas.microsoft.com/office/drawing/2014/main" id="{C9D3C137-E575-49CB-ACEC-B2F50D5E982A}"/>
                </a:ext>
              </a:extLst>
            </p:cNvPr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97" name="Freeform 9">
                <a:extLst>
                  <a:ext uri="{FF2B5EF4-FFF2-40B4-BE49-F238E27FC236}">
                    <a16:creationId xmlns:a16="http://schemas.microsoft.com/office/drawing/2014/main" id="{DD7DDE3B-DC1C-4183-9DF2-7AB0CE1FCC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1">
                <a:extLst>
                  <a:ext uri="{FF2B5EF4-FFF2-40B4-BE49-F238E27FC236}">
                    <a16:creationId xmlns:a16="http://schemas.microsoft.com/office/drawing/2014/main" id="{F721A37D-325F-4734-BE1E-3BE4F2914E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12">
                <a:extLst>
                  <a:ext uri="{FF2B5EF4-FFF2-40B4-BE49-F238E27FC236}">
                    <a16:creationId xmlns:a16="http://schemas.microsoft.com/office/drawing/2014/main" id="{F5D4FC7A-CCB7-4EFF-B362-9E10DED49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14">
                <a:extLst>
                  <a:ext uri="{FF2B5EF4-FFF2-40B4-BE49-F238E27FC236}">
                    <a16:creationId xmlns:a16="http://schemas.microsoft.com/office/drawing/2014/main" id="{C6C461C4-A272-469A-BE40-65F3ED1E8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15">
                <a:extLst>
                  <a:ext uri="{FF2B5EF4-FFF2-40B4-BE49-F238E27FC236}">
                    <a16:creationId xmlns:a16="http://schemas.microsoft.com/office/drawing/2014/main" id="{E47DBC5F-384A-42E4-A95C-D884AA7F9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3" name="Freeform 16">
              <a:extLst>
                <a:ext uri="{FF2B5EF4-FFF2-40B4-BE49-F238E27FC236}">
                  <a16:creationId xmlns:a16="http://schemas.microsoft.com/office/drawing/2014/main" id="{D21C5F48-D9DF-4D25-8520-B637783379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7">
              <a:extLst>
                <a:ext uri="{FF2B5EF4-FFF2-40B4-BE49-F238E27FC236}">
                  <a16:creationId xmlns:a16="http://schemas.microsoft.com/office/drawing/2014/main" id="{A9BFD480-B708-4A4F-8AB9-52C549BFFA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18">
              <a:extLst>
                <a:ext uri="{FF2B5EF4-FFF2-40B4-BE49-F238E27FC236}">
                  <a16:creationId xmlns:a16="http://schemas.microsoft.com/office/drawing/2014/main" id="{1093A01C-5A0C-4A1B-9FA0-EBF1695D82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9">
              <a:extLst>
                <a:ext uri="{FF2B5EF4-FFF2-40B4-BE49-F238E27FC236}">
                  <a16:creationId xmlns:a16="http://schemas.microsoft.com/office/drawing/2014/main" id="{7F1ACC7D-28C1-4D34-A6B5-B36970B56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0">
              <a:extLst>
                <a:ext uri="{FF2B5EF4-FFF2-40B4-BE49-F238E27FC236}">
                  <a16:creationId xmlns:a16="http://schemas.microsoft.com/office/drawing/2014/main" id="{E4F9A090-3458-4B63-A689-6D60D9A43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1">
              <a:extLst>
                <a:ext uri="{FF2B5EF4-FFF2-40B4-BE49-F238E27FC236}">
                  <a16:creationId xmlns:a16="http://schemas.microsoft.com/office/drawing/2014/main" id="{9F83C823-A380-4008-A48B-2D03038FE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2">
              <a:extLst>
                <a:ext uri="{FF2B5EF4-FFF2-40B4-BE49-F238E27FC236}">
                  <a16:creationId xmlns:a16="http://schemas.microsoft.com/office/drawing/2014/main" id="{E9BD2A30-DCA6-41F7-9EFE-B9FFE518A2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3">
              <a:extLst>
                <a:ext uri="{FF2B5EF4-FFF2-40B4-BE49-F238E27FC236}">
                  <a16:creationId xmlns:a16="http://schemas.microsoft.com/office/drawing/2014/main" id="{330FDF73-5626-496B-B4F6-6CB73180A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4">
              <a:extLst>
                <a:ext uri="{FF2B5EF4-FFF2-40B4-BE49-F238E27FC236}">
                  <a16:creationId xmlns:a16="http://schemas.microsoft.com/office/drawing/2014/main" id="{33ED98B7-B5E8-4834-990B-57E67ADFB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5">
              <a:extLst>
                <a:ext uri="{FF2B5EF4-FFF2-40B4-BE49-F238E27FC236}">
                  <a16:creationId xmlns:a16="http://schemas.microsoft.com/office/drawing/2014/main" id="{3B649EA0-F140-46EB-B4F9-1833AA9C8F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26">
              <a:extLst>
                <a:ext uri="{FF2B5EF4-FFF2-40B4-BE49-F238E27FC236}">
                  <a16:creationId xmlns:a16="http://schemas.microsoft.com/office/drawing/2014/main" id="{E4A7E72C-22A1-412D-9A41-C51E499200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27">
              <a:extLst>
                <a:ext uri="{FF2B5EF4-FFF2-40B4-BE49-F238E27FC236}">
                  <a16:creationId xmlns:a16="http://schemas.microsoft.com/office/drawing/2014/main" id="{39A4D933-39AE-4B1C-8A96-C4B855625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28">
              <a:extLst>
                <a:ext uri="{FF2B5EF4-FFF2-40B4-BE49-F238E27FC236}">
                  <a16:creationId xmlns:a16="http://schemas.microsoft.com/office/drawing/2014/main" id="{74B9A56A-BCB1-4FBB-B341-22A9532DE1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29">
              <a:extLst>
                <a:ext uri="{FF2B5EF4-FFF2-40B4-BE49-F238E27FC236}">
                  <a16:creationId xmlns:a16="http://schemas.microsoft.com/office/drawing/2014/main" id="{4FDD4711-511E-4D8D-8E4E-0A95C0B04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0">
              <a:extLst>
                <a:ext uri="{FF2B5EF4-FFF2-40B4-BE49-F238E27FC236}">
                  <a16:creationId xmlns:a16="http://schemas.microsoft.com/office/drawing/2014/main" id="{9460F289-BE7F-4E10-ADED-9FC6B1274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1">
              <a:extLst>
                <a:ext uri="{FF2B5EF4-FFF2-40B4-BE49-F238E27FC236}">
                  <a16:creationId xmlns:a16="http://schemas.microsoft.com/office/drawing/2014/main" id="{D4987225-99D6-4B77-9E0B-6DFD4E897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2">
              <a:extLst>
                <a:ext uri="{FF2B5EF4-FFF2-40B4-BE49-F238E27FC236}">
                  <a16:creationId xmlns:a16="http://schemas.microsoft.com/office/drawing/2014/main" id="{0F9A82D3-D7F1-40DC-9312-D91043BAE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3">
              <a:extLst>
                <a:ext uri="{FF2B5EF4-FFF2-40B4-BE49-F238E27FC236}">
                  <a16:creationId xmlns:a16="http://schemas.microsoft.com/office/drawing/2014/main" id="{8CD93656-E33B-410A-A52E-5EB5E248A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4">
              <a:extLst>
                <a:ext uri="{FF2B5EF4-FFF2-40B4-BE49-F238E27FC236}">
                  <a16:creationId xmlns:a16="http://schemas.microsoft.com/office/drawing/2014/main" id="{33B63704-7DCF-4407-8DA6-F8187DBA6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5">
              <a:extLst>
                <a:ext uri="{FF2B5EF4-FFF2-40B4-BE49-F238E27FC236}">
                  <a16:creationId xmlns:a16="http://schemas.microsoft.com/office/drawing/2014/main" id="{66DE23EA-AA29-4FD0-B0BF-2905FB23C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36">
              <a:extLst>
                <a:ext uri="{FF2B5EF4-FFF2-40B4-BE49-F238E27FC236}">
                  <a16:creationId xmlns:a16="http://schemas.microsoft.com/office/drawing/2014/main" id="{478FD7A1-C2E0-4E27-973B-87DFC3772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7">
              <a:extLst>
                <a:ext uri="{FF2B5EF4-FFF2-40B4-BE49-F238E27FC236}">
                  <a16:creationId xmlns:a16="http://schemas.microsoft.com/office/drawing/2014/main" id="{9E790A91-2B36-4F77-BB0A-3A04A6E80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8">
              <a:extLst>
                <a:ext uri="{FF2B5EF4-FFF2-40B4-BE49-F238E27FC236}">
                  <a16:creationId xmlns:a16="http://schemas.microsoft.com/office/drawing/2014/main" id="{DEC72DFF-A033-4CC0-9451-E5FD56E01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9">
              <a:extLst>
                <a:ext uri="{FF2B5EF4-FFF2-40B4-BE49-F238E27FC236}">
                  <a16:creationId xmlns:a16="http://schemas.microsoft.com/office/drawing/2014/main" id="{9D7B1A11-2B10-469B-9F0D-B01CEE8EF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0">
              <a:extLst>
                <a:ext uri="{FF2B5EF4-FFF2-40B4-BE49-F238E27FC236}">
                  <a16:creationId xmlns:a16="http://schemas.microsoft.com/office/drawing/2014/main" id="{EE33D262-A828-4A35-B073-31E0D4122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1">
              <a:extLst>
                <a:ext uri="{FF2B5EF4-FFF2-40B4-BE49-F238E27FC236}">
                  <a16:creationId xmlns:a16="http://schemas.microsoft.com/office/drawing/2014/main" id="{C3B4762E-4B3D-4D55-82AD-887F17D54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2">
              <a:extLst>
                <a:ext uri="{FF2B5EF4-FFF2-40B4-BE49-F238E27FC236}">
                  <a16:creationId xmlns:a16="http://schemas.microsoft.com/office/drawing/2014/main" id="{E087758D-061F-4B19-9A95-81178E947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3">
              <a:extLst>
                <a:ext uri="{FF2B5EF4-FFF2-40B4-BE49-F238E27FC236}">
                  <a16:creationId xmlns:a16="http://schemas.microsoft.com/office/drawing/2014/main" id="{F31B3208-6080-4E4B-BA27-B28B339E1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4">
              <a:extLst>
                <a:ext uri="{FF2B5EF4-FFF2-40B4-BE49-F238E27FC236}">
                  <a16:creationId xmlns:a16="http://schemas.microsoft.com/office/drawing/2014/main" id="{E35ED9D0-4540-4BF8-94B1-6610B75AAC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5">
              <a:extLst>
                <a:ext uri="{FF2B5EF4-FFF2-40B4-BE49-F238E27FC236}">
                  <a16:creationId xmlns:a16="http://schemas.microsoft.com/office/drawing/2014/main" id="{D88CB339-8F83-4BAE-A69C-154133304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46">
              <a:extLst>
                <a:ext uri="{FF2B5EF4-FFF2-40B4-BE49-F238E27FC236}">
                  <a16:creationId xmlns:a16="http://schemas.microsoft.com/office/drawing/2014/main" id="{99BEA8B9-28E0-4CC7-AEF1-8EA9818B37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47">
              <a:extLst>
                <a:ext uri="{FF2B5EF4-FFF2-40B4-BE49-F238E27FC236}">
                  <a16:creationId xmlns:a16="http://schemas.microsoft.com/office/drawing/2014/main" id="{11D5B774-78AD-4050-93BC-64277A780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48">
              <a:extLst>
                <a:ext uri="{FF2B5EF4-FFF2-40B4-BE49-F238E27FC236}">
                  <a16:creationId xmlns:a16="http://schemas.microsoft.com/office/drawing/2014/main" id="{A9A87FBE-EBCF-4F46-A268-83395C9BF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49">
              <a:extLst>
                <a:ext uri="{FF2B5EF4-FFF2-40B4-BE49-F238E27FC236}">
                  <a16:creationId xmlns:a16="http://schemas.microsoft.com/office/drawing/2014/main" id="{99BFA3DE-401C-49F8-9AB5-8B290EB6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矩形: 对角圆角 56">
            <a:extLst>
              <a:ext uri="{FF2B5EF4-FFF2-40B4-BE49-F238E27FC236}">
                <a16:creationId xmlns:a16="http://schemas.microsoft.com/office/drawing/2014/main" id="{58BF2A5D-5456-4907-99EF-2F06F6A13E27}"/>
              </a:ext>
            </a:extLst>
          </p:cNvPr>
          <p:cNvSpPr/>
          <p:nvPr userDrawn="1"/>
        </p:nvSpPr>
        <p:spPr>
          <a:xfrm>
            <a:off x="4026405" y="2792730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58" name="文本占位符 6">
            <a:extLst>
              <a:ext uri="{FF2B5EF4-FFF2-40B4-BE49-F238E27FC236}">
                <a16:creationId xmlns:a16="http://schemas.microsoft.com/office/drawing/2014/main" id="{0981507F-6C7F-446E-BF0E-80243BF1E5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9476" y="2400300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9" name="文本占位符 6">
            <a:extLst>
              <a:ext uri="{FF2B5EF4-FFF2-40B4-BE49-F238E27FC236}">
                <a16:creationId xmlns:a16="http://schemas.microsoft.com/office/drawing/2014/main" id="{4CEF31D9-66B0-49E5-B25D-4F3A732379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29476" y="2763982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0" name="文本占位符 6">
            <a:extLst>
              <a:ext uri="{FF2B5EF4-FFF2-40B4-BE49-F238E27FC236}">
                <a16:creationId xmlns:a16="http://schemas.microsoft.com/office/drawing/2014/main" id="{A99F8321-9CC6-4ECC-B2F6-46544C7531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92304" y="2273054"/>
            <a:ext cx="748923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1</a:t>
            </a:r>
            <a:endParaRPr lang="en-US" dirty="0"/>
          </a:p>
        </p:txBody>
      </p: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B78FE770-5E93-40B9-AD10-D2E155CF93E4}"/>
              </a:ext>
            </a:extLst>
          </p:cNvPr>
          <p:cNvCxnSpPr/>
          <p:nvPr userDrawn="1"/>
        </p:nvCxnSpPr>
        <p:spPr>
          <a:xfrm>
            <a:off x="4829476" y="2974848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矩形: 对角圆角 61">
            <a:extLst>
              <a:ext uri="{FF2B5EF4-FFF2-40B4-BE49-F238E27FC236}">
                <a16:creationId xmlns:a16="http://schemas.microsoft.com/office/drawing/2014/main" id="{91149B00-A078-47BA-81F3-FA5E29129A3F}"/>
              </a:ext>
            </a:extLst>
          </p:cNvPr>
          <p:cNvSpPr/>
          <p:nvPr userDrawn="1"/>
        </p:nvSpPr>
        <p:spPr>
          <a:xfrm>
            <a:off x="4026405" y="4135393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3" name="文本占位符 6">
            <a:extLst>
              <a:ext uri="{FF2B5EF4-FFF2-40B4-BE49-F238E27FC236}">
                <a16:creationId xmlns:a16="http://schemas.microsoft.com/office/drawing/2014/main" id="{2C49C8D8-9D9F-47B3-B7F8-0A47D11A7A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9476" y="3742963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4" name="文本占位符 6">
            <a:extLst>
              <a:ext uri="{FF2B5EF4-FFF2-40B4-BE49-F238E27FC236}">
                <a16:creationId xmlns:a16="http://schemas.microsoft.com/office/drawing/2014/main" id="{4BE0BD41-74C9-4427-80AE-8227E5B96C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29476" y="4106645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5" name="文本占位符 6">
            <a:extLst>
              <a:ext uri="{FF2B5EF4-FFF2-40B4-BE49-F238E27FC236}">
                <a16:creationId xmlns:a16="http://schemas.microsoft.com/office/drawing/2014/main" id="{CE0D1BB1-8167-4DB2-8BAC-B828B7FDB0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4633" y="3615717"/>
            <a:ext cx="824265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2</a:t>
            </a:r>
            <a:endParaRPr lang="en-US" dirty="0"/>
          </a:p>
        </p:txBody>
      </p: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7457BD7A-8CA9-4A33-8D2B-AD60D466185E}"/>
              </a:ext>
            </a:extLst>
          </p:cNvPr>
          <p:cNvCxnSpPr/>
          <p:nvPr userDrawn="1"/>
        </p:nvCxnSpPr>
        <p:spPr>
          <a:xfrm>
            <a:off x="4829476" y="4317511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矩形: 对角圆角 66">
            <a:extLst>
              <a:ext uri="{FF2B5EF4-FFF2-40B4-BE49-F238E27FC236}">
                <a16:creationId xmlns:a16="http://schemas.microsoft.com/office/drawing/2014/main" id="{365B4767-4F71-4B68-AA69-6BFEA81A6BEF}"/>
              </a:ext>
            </a:extLst>
          </p:cNvPr>
          <p:cNvSpPr/>
          <p:nvPr userDrawn="1"/>
        </p:nvSpPr>
        <p:spPr>
          <a:xfrm>
            <a:off x="4026405" y="5478056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8" name="文本占位符 6">
            <a:extLst>
              <a:ext uri="{FF2B5EF4-FFF2-40B4-BE49-F238E27FC236}">
                <a16:creationId xmlns:a16="http://schemas.microsoft.com/office/drawing/2014/main" id="{0F6BDBFE-68DE-4FF2-87DF-EFC754A2728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29476" y="5085626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9" name="文本占位符 6">
            <a:extLst>
              <a:ext uri="{FF2B5EF4-FFF2-40B4-BE49-F238E27FC236}">
                <a16:creationId xmlns:a16="http://schemas.microsoft.com/office/drawing/2014/main" id="{05E46D11-0B9F-4243-B076-5B17D1045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29476" y="5449308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0" name="文本占位符 6">
            <a:extLst>
              <a:ext uri="{FF2B5EF4-FFF2-40B4-BE49-F238E27FC236}">
                <a16:creationId xmlns:a16="http://schemas.microsoft.com/office/drawing/2014/main" id="{D3DC59A3-96BF-437E-B2E1-EF70A29070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45817" y="4958380"/>
            <a:ext cx="841897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3</a:t>
            </a:r>
            <a:endParaRPr lang="en-US" dirty="0"/>
          </a:p>
        </p:txBody>
      </p:sp>
      <p:cxnSp>
        <p:nvCxnSpPr>
          <p:cNvPr id="71" name="直接连接符 70">
            <a:extLst>
              <a:ext uri="{FF2B5EF4-FFF2-40B4-BE49-F238E27FC236}">
                <a16:creationId xmlns:a16="http://schemas.microsoft.com/office/drawing/2014/main" id="{9CDAA622-0584-4123-A29A-236B5CDC58C6}"/>
              </a:ext>
            </a:extLst>
          </p:cNvPr>
          <p:cNvCxnSpPr/>
          <p:nvPr userDrawn="1"/>
        </p:nvCxnSpPr>
        <p:spPr>
          <a:xfrm>
            <a:off x="4829476" y="5660174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矩形: 对角圆角 71">
            <a:extLst>
              <a:ext uri="{FF2B5EF4-FFF2-40B4-BE49-F238E27FC236}">
                <a16:creationId xmlns:a16="http://schemas.microsoft.com/office/drawing/2014/main" id="{B2BB2056-58FD-4C56-944A-A2498C8BA482}"/>
              </a:ext>
            </a:extLst>
          </p:cNvPr>
          <p:cNvSpPr/>
          <p:nvPr userDrawn="1"/>
        </p:nvSpPr>
        <p:spPr>
          <a:xfrm>
            <a:off x="8224506" y="2792730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3" name="文本占位符 6">
            <a:extLst>
              <a:ext uri="{FF2B5EF4-FFF2-40B4-BE49-F238E27FC236}">
                <a16:creationId xmlns:a16="http://schemas.microsoft.com/office/drawing/2014/main" id="{62A42ADE-A41A-472E-BFD7-12D2143F85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27577" y="2400300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4" name="文本占位符 6">
            <a:extLst>
              <a:ext uri="{FF2B5EF4-FFF2-40B4-BE49-F238E27FC236}">
                <a16:creationId xmlns:a16="http://schemas.microsoft.com/office/drawing/2014/main" id="{32B54B0B-B748-4661-9FFB-32FEEA8FDE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27577" y="2763982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5" name="文本占位符 6">
            <a:extLst>
              <a:ext uri="{FF2B5EF4-FFF2-40B4-BE49-F238E27FC236}">
                <a16:creationId xmlns:a16="http://schemas.microsoft.com/office/drawing/2014/main" id="{4E817E85-B3FF-4B7D-BDE3-CB58EE4607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53536" y="2273054"/>
            <a:ext cx="822661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4</a:t>
            </a:r>
            <a:endParaRPr lang="en-US" dirty="0"/>
          </a:p>
        </p:txBody>
      </p:sp>
      <p:cxnSp>
        <p:nvCxnSpPr>
          <p:cNvPr id="76" name="直接连接符 75">
            <a:extLst>
              <a:ext uri="{FF2B5EF4-FFF2-40B4-BE49-F238E27FC236}">
                <a16:creationId xmlns:a16="http://schemas.microsoft.com/office/drawing/2014/main" id="{9AF45128-2E83-482D-82FB-E6757A4856F9}"/>
              </a:ext>
            </a:extLst>
          </p:cNvPr>
          <p:cNvCxnSpPr/>
          <p:nvPr userDrawn="1"/>
        </p:nvCxnSpPr>
        <p:spPr>
          <a:xfrm>
            <a:off x="9027577" y="2974848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矩形: 对角圆角 76">
            <a:extLst>
              <a:ext uri="{FF2B5EF4-FFF2-40B4-BE49-F238E27FC236}">
                <a16:creationId xmlns:a16="http://schemas.microsoft.com/office/drawing/2014/main" id="{925295E8-EADC-492C-AEA1-5CC17348C759}"/>
              </a:ext>
            </a:extLst>
          </p:cNvPr>
          <p:cNvSpPr/>
          <p:nvPr userDrawn="1"/>
        </p:nvSpPr>
        <p:spPr>
          <a:xfrm>
            <a:off x="8224506" y="4135393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8" name="文本占位符 6">
            <a:extLst>
              <a:ext uri="{FF2B5EF4-FFF2-40B4-BE49-F238E27FC236}">
                <a16:creationId xmlns:a16="http://schemas.microsoft.com/office/drawing/2014/main" id="{66A2D640-588C-487C-9DDE-1D36E1AD270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7577" y="3742963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9" name="文本占位符 6">
            <a:extLst>
              <a:ext uri="{FF2B5EF4-FFF2-40B4-BE49-F238E27FC236}">
                <a16:creationId xmlns:a16="http://schemas.microsoft.com/office/drawing/2014/main" id="{CB252D05-1101-4180-A1E2-CDBE3A90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27577" y="4106645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0" name="文本占位符 6">
            <a:extLst>
              <a:ext uri="{FF2B5EF4-FFF2-40B4-BE49-F238E27FC236}">
                <a16:creationId xmlns:a16="http://schemas.microsoft.com/office/drawing/2014/main" id="{2E0FF1FC-E735-4A45-8089-369C9C9908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42315" y="3615717"/>
            <a:ext cx="845104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5</a:t>
            </a:r>
            <a:endParaRPr lang="en-US" dirty="0"/>
          </a:p>
        </p:txBody>
      </p: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B86FC4F8-FB16-4701-95AF-BEFF5C57F79C}"/>
              </a:ext>
            </a:extLst>
          </p:cNvPr>
          <p:cNvCxnSpPr/>
          <p:nvPr userDrawn="1"/>
        </p:nvCxnSpPr>
        <p:spPr>
          <a:xfrm>
            <a:off x="9027577" y="4317511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矩形: 对角圆角 81">
            <a:extLst>
              <a:ext uri="{FF2B5EF4-FFF2-40B4-BE49-F238E27FC236}">
                <a16:creationId xmlns:a16="http://schemas.microsoft.com/office/drawing/2014/main" id="{D651E5AE-54DF-430E-A2E4-01A2081F3A04}"/>
              </a:ext>
            </a:extLst>
          </p:cNvPr>
          <p:cNvSpPr/>
          <p:nvPr userDrawn="1"/>
        </p:nvSpPr>
        <p:spPr>
          <a:xfrm>
            <a:off x="8224506" y="5478056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83" name="文本占位符 6">
            <a:extLst>
              <a:ext uri="{FF2B5EF4-FFF2-40B4-BE49-F238E27FC236}">
                <a16:creationId xmlns:a16="http://schemas.microsoft.com/office/drawing/2014/main" id="{D086C426-F2E0-4CA6-BC1E-55306B13876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7577" y="5085626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4" name="文本占位符 6">
            <a:extLst>
              <a:ext uri="{FF2B5EF4-FFF2-40B4-BE49-F238E27FC236}">
                <a16:creationId xmlns:a16="http://schemas.microsoft.com/office/drawing/2014/main" id="{E99FC829-F958-492E-97B8-AE34F471E3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7577" y="5449308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5" name="文本占位符 6">
            <a:extLst>
              <a:ext uri="{FF2B5EF4-FFF2-40B4-BE49-F238E27FC236}">
                <a16:creationId xmlns:a16="http://schemas.microsoft.com/office/drawing/2014/main" id="{4DC0945A-3691-4B14-89A3-61A43F30427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40712" y="4958380"/>
            <a:ext cx="848309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6</a:t>
            </a:r>
            <a:endParaRPr lang="en-US" dirty="0"/>
          </a:p>
        </p:txBody>
      </p:sp>
      <p:cxnSp>
        <p:nvCxnSpPr>
          <p:cNvPr id="86" name="直接连接符 85">
            <a:extLst>
              <a:ext uri="{FF2B5EF4-FFF2-40B4-BE49-F238E27FC236}">
                <a16:creationId xmlns:a16="http://schemas.microsoft.com/office/drawing/2014/main" id="{BB8293C0-099E-475E-8E1C-DC4C1B7E44E7}"/>
              </a:ext>
            </a:extLst>
          </p:cNvPr>
          <p:cNvCxnSpPr/>
          <p:nvPr userDrawn="1"/>
        </p:nvCxnSpPr>
        <p:spPr>
          <a:xfrm>
            <a:off x="9027577" y="5660174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66291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9EA6E698-19E7-4662-97BB-23FA2B73C09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C6C99B6-D2B3-48ED-AC0D-7EED117518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809" y="1196975"/>
            <a:ext cx="11185511" cy="49217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B6365A1-5323-4635-8875-19543A2BD2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09" y="365126"/>
            <a:ext cx="11185511" cy="5784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E7AD38D-3CC4-4015-8BCF-24E1D95F86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880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7947CC3-0340-41AD-A642-DBEC7E6B33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13768" y="6356350"/>
            <a:ext cx="3955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028C8CB-3B79-4E86-B07A-382671EF6D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6112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9890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697" r:id="rId3"/>
    <p:sldLayoutId id="2147483704" r:id="rId4"/>
    <p:sldLayoutId id="2147483705" r:id="rId5"/>
    <p:sldLayoutId id="2147483706" r:id="rId6"/>
    <p:sldLayoutId id="2147483710" r:id="rId7"/>
    <p:sldLayoutId id="2147483711" r:id="rId8"/>
    <p:sldLayoutId id="2147483702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2" r:id="rId19"/>
    <p:sldLayoutId id="2147483721" r:id="rId20"/>
    <p:sldLayoutId id="2147483723" r:id="rId21"/>
    <p:sldLayoutId id="2147483703" r:id="rId22"/>
    <p:sldLayoutId id="2147483728" r:id="rId23"/>
    <p:sldLayoutId id="2147483729" r:id="rId24"/>
    <p:sldLayoutId id="2147483747" r:id="rId25"/>
    <p:sldLayoutId id="2147483730" r:id="rId26"/>
    <p:sldLayoutId id="2147483731" r:id="rId27"/>
    <p:sldLayoutId id="2147483732" r:id="rId28"/>
    <p:sldLayoutId id="2147483748" r:id="rId29"/>
    <p:sldLayoutId id="2147483733" r:id="rId30"/>
    <p:sldLayoutId id="2147483734" r:id="rId31"/>
    <p:sldLayoutId id="2147483735" r:id="rId32"/>
    <p:sldLayoutId id="2147483736" r:id="rId33"/>
    <p:sldLayoutId id="2147483737" r:id="rId34"/>
    <p:sldLayoutId id="2147483738" r:id="rId35"/>
    <p:sldLayoutId id="2147483739" r:id="rId36"/>
    <p:sldLayoutId id="2147483740" r:id="rId37"/>
    <p:sldLayoutId id="2147483741" r:id="rId38"/>
    <p:sldLayoutId id="2147483742" r:id="rId39"/>
    <p:sldLayoutId id="2147483743" r:id="rId40"/>
    <p:sldLayoutId id="2147483744" r:id="rId41"/>
    <p:sldLayoutId id="2147483745" r:id="rId42"/>
    <p:sldLayoutId id="2147483746" r:id="rId43"/>
    <p:sldLayoutId id="2147483701" r:id="rId4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325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595" userDrawn="1">
          <p15:clr>
            <a:srgbClr val="F26B43"/>
          </p15:clr>
        </p15:guide>
        <p15:guide id="5" orient="horz" pos="754" userDrawn="1">
          <p15:clr>
            <a:srgbClr val="F26B43"/>
          </p15:clr>
        </p15:guide>
        <p15:guide id="6" orient="horz" pos="38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1CA114A-D4F4-407B-9104-857E3EAB62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dist"/>
            <a:r>
              <a:rPr lang="zh-CN" altLang="en-US" dirty="0">
                <a:cs typeface="+mn-ea"/>
                <a:sym typeface="+mn-lt"/>
              </a:rPr>
              <a:t>第一组研讨：主题三第五题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D8454BD-4559-49CD-A793-D15A2D766AC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dist"/>
            <a:r>
              <a:rPr lang="en-US" altLang="zh-CN" dirty="0">
                <a:cs typeface="+mn-ea"/>
                <a:sym typeface="+mn-lt"/>
              </a:rPr>
              <a:t>GENERAL REPORTING TEMPLATE FOR SHANGHAI UNIVERSITY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157FDF79-8A14-4A4C-96DB-B0452E47E1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27973" y="3902491"/>
            <a:ext cx="3936054" cy="454199"/>
          </a:xfrm>
        </p:spPr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小组成员：张浩壮 吴博翔 曾海兵</a:t>
            </a:r>
          </a:p>
        </p:txBody>
      </p:sp>
    </p:spTree>
    <p:extLst>
      <p:ext uri="{BB962C8B-B14F-4D97-AF65-F5344CB8AC3E}">
        <p14:creationId xmlns:p14="http://schemas.microsoft.com/office/powerpoint/2010/main" val="4017373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2A1741A7-099B-4C48-85F5-19DF019FE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主题三：第五题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B70A6AA-03C1-42D4-89DC-A622319DF232}"/>
              </a:ext>
            </a:extLst>
          </p:cNvPr>
          <p:cNvSpPr txBox="1"/>
          <p:nvPr/>
        </p:nvSpPr>
        <p:spPr>
          <a:xfrm>
            <a:off x="1225588" y="1086487"/>
            <a:ext cx="9049397" cy="129137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indent="457200" algn="l">
              <a:lnSpc>
                <a:spcPct val="120000"/>
              </a:lnSpc>
            </a:pPr>
            <a:r>
              <a:rPr lang="zh-CN" altLang="en-US" sz="2400" dirty="0">
                <a:cs typeface="+mn-ea"/>
                <a:sym typeface="+mn-lt"/>
              </a:rPr>
              <a:t>假设有一个硬盘，磁头数为</a:t>
            </a:r>
            <a:r>
              <a:rPr lang="en-US" altLang="zh-CN" sz="2400" dirty="0">
                <a:cs typeface="+mn-ea"/>
                <a:sym typeface="+mn-lt"/>
              </a:rPr>
              <a:t>16</a:t>
            </a:r>
            <a:r>
              <a:rPr lang="zh-CN" altLang="en-US" sz="2400" dirty="0">
                <a:cs typeface="+mn-ea"/>
                <a:sym typeface="+mn-lt"/>
              </a:rPr>
              <a:t>，每个磁道的扇区数为</a:t>
            </a:r>
            <a:r>
              <a:rPr lang="en-US" altLang="zh-CN" sz="2400" dirty="0">
                <a:cs typeface="+mn-ea"/>
                <a:sym typeface="+mn-lt"/>
              </a:rPr>
              <a:t>64</a:t>
            </a:r>
            <a:r>
              <a:rPr lang="zh-CN" altLang="en-US" sz="2400" dirty="0">
                <a:cs typeface="+mn-ea"/>
                <a:sym typeface="+mn-lt"/>
              </a:rPr>
              <a:t>，每个扇区存放</a:t>
            </a:r>
            <a:r>
              <a:rPr lang="en-US" altLang="zh-CN" sz="2400" dirty="0">
                <a:cs typeface="+mn-ea"/>
                <a:sym typeface="+mn-lt"/>
              </a:rPr>
              <a:t>512</a:t>
            </a:r>
            <a:r>
              <a:rPr lang="zh-CN" altLang="en-US" sz="2400" dirty="0">
                <a:cs typeface="+mn-ea"/>
                <a:sym typeface="+mn-lt"/>
              </a:rPr>
              <a:t>个字节，磁盘转速为每分钟</a:t>
            </a:r>
            <a:r>
              <a:rPr lang="en-US" altLang="zh-CN" sz="2400" dirty="0">
                <a:cs typeface="+mn-ea"/>
                <a:sym typeface="+mn-lt"/>
              </a:rPr>
              <a:t>7200</a:t>
            </a:r>
            <a:r>
              <a:rPr lang="zh-CN" altLang="en-US" sz="2400" dirty="0">
                <a:cs typeface="+mn-ea"/>
                <a:sym typeface="+mn-lt"/>
              </a:rPr>
              <a:t>转。操作系统限定每一个分区大小不超过</a:t>
            </a:r>
            <a:r>
              <a:rPr lang="en-US" altLang="zh-CN" sz="2400" dirty="0">
                <a:cs typeface="+mn-ea"/>
                <a:sym typeface="+mn-lt"/>
              </a:rPr>
              <a:t>65536</a:t>
            </a:r>
            <a:r>
              <a:rPr lang="zh-CN" altLang="en-US" sz="2400" dirty="0">
                <a:cs typeface="+mn-ea"/>
                <a:sym typeface="+mn-lt"/>
              </a:rPr>
              <a:t>个柱面。</a:t>
            </a:r>
          </a:p>
        </p:txBody>
      </p:sp>
      <p:sp>
        <p:nvSpPr>
          <p:cNvPr id="9" name="灯片编号占位符 2">
            <a:extLst>
              <a:ext uri="{FF2B5EF4-FFF2-40B4-BE49-F238E27FC236}">
                <a16:creationId xmlns:a16="http://schemas.microsoft.com/office/drawing/2014/main" id="{58F3D906-B21F-4B27-A8BC-84B8B7DD9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</p:spPr>
        <p:txBody>
          <a:bodyPr/>
          <a:lstStyle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  <a:cs typeface="+mn-ea"/>
                <a:sym typeface="+mn-lt"/>
              </a:rPr>
              <a:pPr defTabSz="914400">
                <a:defRPr/>
              </a:pPr>
              <a:t>2</a:t>
            </a:fld>
            <a:endParaRPr lang="en-US" dirty="0">
              <a:solidFill>
                <a:srgbClr val="000000">
                  <a:tint val="7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CDA2288-650B-B03B-D33E-EEDAE0603447}"/>
              </a:ext>
            </a:extLst>
          </p:cNvPr>
          <p:cNvSpPr txBox="1"/>
          <p:nvPr/>
        </p:nvSpPr>
        <p:spPr>
          <a:xfrm>
            <a:off x="1225587" y="2520773"/>
            <a:ext cx="9049397" cy="17345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sz="2400" dirty="0"/>
              <a:t>（</a:t>
            </a:r>
            <a:r>
              <a:rPr lang="en-US" altLang="zh-CN" sz="2400" dirty="0"/>
              <a:t>7</a:t>
            </a:r>
            <a:r>
              <a:rPr lang="zh-CN" altLang="en-US" sz="2400" dirty="0"/>
              <a:t>）若要存放一个文件长度为</a:t>
            </a:r>
            <a:r>
              <a:rPr lang="en-US" altLang="zh-CN" sz="2400" dirty="0"/>
              <a:t>64208 KB</a:t>
            </a:r>
            <a:r>
              <a:rPr lang="zh-CN" altLang="en-US" sz="2400" dirty="0"/>
              <a:t>的文件，此文件的文件体（文件本身的内容）需要多少个磁盘块？</a:t>
            </a:r>
            <a:br>
              <a:rPr lang="zh-CN" altLang="en-US" sz="2400" dirty="0"/>
            </a:br>
            <a:r>
              <a:rPr lang="zh-CN" altLang="en-US" sz="2400" dirty="0"/>
              <a:t>（</a:t>
            </a:r>
            <a:r>
              <a:rPr lang="en-US" altLang="zh-CN" sz="2400" dirty="0"/>
              <a:t>8</a:t>
            </a:r>
            <a:r>
              <a:rPr lang="zh-CN" altLang="en-US" sz="2400" dirty="0"/>
              <a:t>）设某个文件长度为</a:t>
            </a:r>
            <a:r>
              <a:rPr lang="en-US" altLang="zh-CN" sz="2400" dirty="0"/>
              <a:t>64208 KB</a:t>
            </a:r>
            <a:r>
              <a:rPr lang="zh-CN" altLang="en-US" sz="2400" dirty="0"/>
              <a:t>，需要多少个磁盘块存放这个文件的索引表？</a:t>
            </a:r>
            <a:endParaRPr lang="zh-CN" altLang="en-US" sz="2400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57740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2A1741A7-099B-4C48-85F5-19DF019FE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磁盘块与扇区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灯片编号占位符 2">
            <a:extLst>
              <a:ext uri="{FF2B5EF4-FFF2-40B4-BE49-F238E27FC236}">
                <a16:creationId xmlns:a16="http://schemas.microsoft.com/office/drawing/2014/main" id="{58F3D906-B21F-4B27-A8BC-84B8B7DD9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</p:spPr>
        <p:txBody>
          <a:bodyPr/>
          <a:lstStyle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  <a:cs typeface="+mn-ea"/>
                <a:sym typeface="+mn-lt"/>
              </a:rPr>
              <a:pPr defTabSz="914400">
                <a:defRPr/>
              </a:pPr>
              <a:t>3</a:t>
            </a:fld>
            <a:endParaRPr lang="en-US" dirty="0">
              <a:solidFill>
                <a:srgbClr val="000000">
                  <a:tint val="7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358649C-E22A-C9E4-D221-D4231BF0391E}"/>
              </a:ext>
            </a:extLst>
          </p:cNvPr>
          <p:cNvSpPr txBox="1"/>
          <p:nvPr/>
        </p:nvSpPr>
        <p:spPr>
          <a:xfrm>
            <a:off x="518808" y="1200150"/>
            <a:ext cx="9496729" cy="303801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dirty="0"/>
              <a:t>扇区：磁盘进行读写的最小单位。是真实存在的硬件部分，是一块真实存在的物理区域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10D61DF-56FB-E8D1-0CC1-10502A539DB8}"/>
              </a:ext>
            </a:extLst>
          </p:cNvPr>
          <p:cNvSpPr txBox="1"/>
          <p:nvPr/>
        </p:nvSpPr>
        <p:spPr>
          <a:xfrm>
            <a:off x="518808" y="3778250"/>
            <a:ext cx="9451223" cy="303801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dirty="0"/>
              <a:t>磁盘块：操作系统与磁盘之间交流的最小单位，是一个虚拟的概念</a:t>
            </a:r>
            <a:endParaRPr lang="en-US" altLang="zh-CN" dirty="0"/>
          </a:p>
        </p:txBody>
      </p:sp>
      <p:pic>
        <p:nvPicPr>
          <p:cNvPr id="7" name="图片 6" descr="图片包含 设备, 风扇, 游戏机, 光盘&#10;&#10;描述已自动生成">
            <a:extLst>
              <a:ext uri="{FF2B5EF4-FFF2-40B4-BE49-F238E27FC236}">
                <a16:creationId xmlns:a16="http://schemas.microsoft.com/office/drawing/2014/main" id="{1E9DC250-1E28-7C6A-551D-C441D9CFF2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473" y="1539188"/>
            <a:ext cx="2796731" cy="2203824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5407D828-9001-A67A-435B-60C73A79B1E6}"/>
              </a:ext>
            </a:extLst>
          </p:cNvPr>
          <p:cNvSpPr txBox="1"/>
          <p:nvPr/>
        </p:nvSpPr>
        <p:spPr>
          <a:xfrm>
            <a:off x="518808" y="4641555"/>
            <a:ext cx="8882367" cy="636200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dirty="0"/>
              <a:t>磁盘块大小：块</a:t>
            </a:r>
            <a:r>
              <a:rPr lang="en-US" altLang="zh-CN" dirty="0"/>
              <a:t>=</a:t>
            </a:r>
            <a:r>
              <a:rPr lang="zh-CN" altLang="en-US" dirty="0"/>
              <a:t>扇区</a:t>
            </a:r>
            <a:r>
              <a:rPr lang="en-US" altLang="zh-CN" dirty="0"/>
              <a:t>×2^n</a:t>
            </a:r>
            <a:r>
              <a:rPr lang="zh-CN" altLang="en-US" dirty="0"/>
              <a:t>。因为磁盘进行读写的基本单位是扇区，而操作系统与磁盘之间是块，所以系统想进行读写，最节省的方式就是扇区的整数倍。</a:t>
            </a:r>
          </a:p>
        </p:txBody>
      </p:sp>
    </p:spTree>
    <p:extLst>
      <p:ext uri="{BB962C8B-B14F-4D97-AF65-F5344CB8AC3E}">
        <p14:creationId xmlns:p14="http://schemas.microsoft.com/office/powerpoint/2010/main" val="1689197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灯片编号占位符 2">
            <a:extLst>
              <a:ext uri="{FF2B5EF4-FFF2-40B4-BE49-F238E27FC236}">
                <a16:creationId xmlns:a16="http://schemas.microsoft.com/office/drawing/2014/main" id="{58F3D906-B21F-4B27-A8BC-84B8B7DD9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</p:spPr>
        <p:txBody>
          <a:bodyPr/>
          <a:lstStyle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  <a:cs typeface="+mn-ea"/>
                <a:sym typeface="+mn-lt"/>
              </a:rPr>
              <a:pPr defTabSz="914400">
                <a:defRPr/>
              </a:pPr>
              <a:t>4</a:t>
            </a:fld>
            <a:endParaRPr lang="en-US" dirty="0">
              <a:solidFill>
                <a:srgbClr val="000000">
                  <a:tint val="7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9274D8F2-7530-CA73-EAFF-27FA7D43B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150" y="1181766"/>
            <a:ext cx="8900856" cy="578454"/>
          </a:xfrm>
        </p:spPr>
        <p:txBody>
          <a:bodyPr>
            <a:normAutofit fontScale="90000"/>
          </a:bodyPr>
          <a:lstStyle/>
          <a:p>
            <a:r>
              <a:rPr lang="zh-CN" altLang="en-US" sz="2200" b="0" dirty="0"/>
              <a:t>若要存放一个文件长度为</a:t>
            </a:r>
            <a:r>
              <a:rPr lang="en-US" altLang="zh-CN" sz="2200" b="0" dirty="0"/>
              <a:t>64208 KB</a:t>
            </a:r>
            <a:r>
              <a:rPr lang="zh-CN" altLang="en-US" sz="2200" b="0" dirty="0"/>
              <a:t>的文件，此文件的文件体（文件本身的内容）需要多少个磁盘块？</a:t>
            </a:r>
            <a:br>
              <a:rPr lang="zh-CN" altLang="en-US" dirty="0"/>
            </a:br>
            <a:endParaRPr lang="zh-CN" altLang="en-US" dirty="0"/>
          </a:p>
        </p:txBody>
      </p:sp>
      <p:graphicFrame>
        <p:nvGraphicFramePr>
          <p:cNvPr id="5" name="表格 5">
            <a:extLst>
              <a:ext uri="{FF2B5EF4-FFF2-40B4-BE49-F238E27FC236}">
                <a16:creationId xmlns:a16="http://schemas.microsoft.com/office/drawing/2014/main" id="{40AE5C1E-BCA7-3830-F5B9-58F71BE546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8981038"/>
              </p:ext>
            </p:extLst>
          </p:nvPr>
        </p:nvGraphicFramePr>
        <p:xfrm>
          <a:off x="1550193" y="1760220"/>
          <a:ext cx="8122486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8486">
                  <a:extLst>
                    <a:ext uri="{9D8B030D-6E8A-4147-A177-3AD203B41FA5}">
                      <a16:colId xmlns:a16="http://schemas.microsoft.com/office/drawing/2014/main" val="278368871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000474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磁盘块大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所需磁盘块个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2737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12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28416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55574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64208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7036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2104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42171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6052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08193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8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8026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33183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6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01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5629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2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007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81254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64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004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7035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28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02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3738301"/>
                  </a:ext>
                </a:extLst>
              </a:tr>
            </a:tbl>
          </a:graphicData>
        </a:graphic>
      </p:graphicFrame>
      <p:sp>
        <p:nvSpPr>
          <p:cNvPr id="6" name="文本框 5">
            <a:extLst>
              <a:ext uri="{FF2B5EF4-FFF2-40B4-BE49-F238E27FC236}">
                <a16:creationId xmlns:a16="http://schemas.microsoft.com/office/drawing/2014/main" id="{FD59B743-7074-65B8-7394-6E491250DC58}"/>
              </a:ext>
            </a:extLst>
          </p:cNvPr>
          <p:cNvSpPr txBox="1"/>
          <p:nvPr/>
        </p:nvSpPr>
        <p:spPr>
          <a:xfrm>
            <a:off x="9868465" y="4338060"/>
            <a:ext cx="2134770" cy="303801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US" altLang="zh-CN" dirty="0"/>
              <a:t>PS:</a:t>
            </a:r>
            <a:r>
              <a:rPr lang="zh-CN" altLang="en-US" dirty="0"/>
              <a:t>磁盘块取整数</a:t>
            </a:r>
          </a:p>
        </p:txBody>
      </p:sp>
      <p:sp>
        <p:nvSpPr>
          <p:cNvPr id="2" name="标题 4">
            <a:extLst>
              <a:ext uri="{FF2B5EF4-FFF2-40B4-BE49-F238E27FC236}">
                <a16:creationId xmlns:a16="http://schemas.microsoft.com/office/drawing/2014/main" id="{F2BBDA90-D415-04A1-C712-5A6EE6A1BA5F}"/>
              </a:ext>
            </a:extLst>
          </p:cNvPr>
          <p:cNvSpPr txBox="1">
            <a:spLocks/>
          </p:cNvSpPr>
          <p:nvPr/>
        </p:nvSpPr>
        <p:spPr>
          <a:xfrm>
            <a:off x="559150" y="358402"/>
            <a:ext cx="9561064" cy="5784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主题三：第五题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15643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2A1741A7-099B-4C48-85F5-19DF019FE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主题三：第五题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B70A6AA-03C1-42D4-89DC-A622319DF232}"/>
              </a:ext>
            </a:extLst>
          </p:cNvPr>
          <p:cNvSpPr txBox="1"/>
          <p:nvPr/>
        </p:nvSpPr>
        <p:spPr>
          <a:xfrm>
            <a:off x="-67117" y="928372"/>
            <a:ext cx="11189282" cy="4049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indent="457200" algn="l">
              <a:lnSpc>
                <a:spcPct val="120000"/>
              </a:lnSpc>
            </a:pPr>
            <a:r>
              <a:rPr lang="zh-CN" altLang="en-US" sz="2400" dirty="0"/>
              <a:t>（</a:t>
            </a:r>
            <a:r>
              <a:rPr lang="en-US" altLang="zh-CN" sz="2400" dirty="0"/>
              <a:t>8</a:t>
            </a:r>
            <a:r>
              <a:rPr lang="zh-CN" altLang="en-US" sz="2400" dirty="0"/>
              <a:t>）    设某个文件长度为</a:t>
            </a:r>
            <a:r>
              <a:rPr lang="en-US" altLang="zh-CN" sz="2400" dirty="0"/>
              <a:t>64208 KB</a:t>
            </a:r>
            <a:r>
              <a:rPr lang="zh-CN" altLang="en-US" sz="2400" dirty="0"/>
              <a:t>，需要多少个磁盘块存放这个文件的索引表？</a:t>
            </a:r>
            <a:endParaRPr lang="zh-CN" altLang="en-US" sz="2400" dirty="0">
              <a:cs typeface="+mn-ea"/>
              <a:sym typeface="+mn-lt"/>
            </a:endParaRPr>
          </a:p>
        </p:txBody>
      </p:sp>
      <p:sp>
        <p:nvSpPr>
          <p:cNvPr id="9" name="灯片编号占位符 2">
            <a:extLst>
              <a:ext uri="{FF2B5EF4-FFF2-40B4-BE49-F238E27FC236}">
                <a16:creationId xmlns:a16="http://schemas.microsoft.com/office/drawing/2014/main" id="{58F3D906-B21F-4B27-A8BC-84B8B7DD9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</p:spPr>
        <p:txBody>
          <a:bodyPr/>
          <a:lstStyle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  <a:cs typeface="+mn-ea"/>
                <a:sym typeface="+mn-lt"/>
              </a:rPr>
              <a:pPr defTabSz="914400">
                <a:defRPr/>
              </a:pPr>
              <a:t>5</a:t>
            </a:fld>
            <a:endParaRPr lang="en-US" dirty="0">
              <a:solidFill>
                <a:srgbClr val="000000">
                  <a:tint val="7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D09EC90-D9A6-2CAC-F2F2-66DA6D219491}"/>
              </a:ext>
            </a:extLst>
          </p:cNvPr>
          <p:cNvSpPr txBox="1"/>
          <p:nvPr/>
        </p:nvSpPr>
        <p:spPr>
          <a:xfrm>
            <a:off x="518809" y="1333355"/>
            <a:ext cx="11189282" cy="336393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indent="457200" algn="l">
              <a:lnSpc>
                <a:spcPct val="120000"/>
              </a:lnSpc>
            </a:pPr>
            <a:r>
              <a:rPr lang="zh-CN" altLang="en-US" sz="2400" dirty="0">
                <a:cs typeface="+mn-ea"/>
                <a:sym typeface="+mn-lt"/>
              </a:rPr>
              <a:t>首先我们需要确定出索引项的大小</a:t>
            </a:r>
            <a:endParaRPr lang="en-US" altLang="zh-CN" sz="2400" dirty="0">
              <a:cs typeface="+mn-ea"/>
              <a:sym typeface="+mn-lt"/>
            </a:endParaRPr>
          </a:p>
          <a:p>
            <a:pPr indent="457200" algn="l">
              <a:lnSpc>
                <a:spcPct val="120000"/>
              </a:lnSpc>
            </a:pPr>
            <a:r>
              <a:rPr lang="zh-CN" altLang="en-US" sz="2400" dirty="0">
                <a:cs typeface="+mn-ea"/>
                <a:sym typeface="+mn-lt"/>
              </a:rPr>
              <a:t>整个磁盘可容纳</a:t>
            </a:r>
            <a:r>
              <a:rPr lang="en-US" altLang="zh-CN" sz="2400" dirty="0">
                <a:cs typeface="+mn-ea"/>
                <a:sym typeface="+mn-lt"/>
              </a:rPr>
              <a:t>32GB</a:t>
            </a:r>
            <a:r>
              <a:rPr lang="zh-CN" altLang="en-US" sz="2400" dirty="0">
                <a:cs typeface="+mn-ea"/>
                <a:sym typeface="+mn-lt"/>
              </a:rPr>
              <a:t>，即</a:t>
            </a:r>
            <a:r>
              <a:rPr lang="en-US" altLang="zh-CN" sz="2400" dirty="0">
                <a:cs typeface="+mn-ea"/>
                <a:sym typeface="+mn-lt"/>
              </a:rPr>
              <a:t>2^35</a:t>
            </a:r>
            <a:r>
              <a:rPr lang="zh-CN" altLang="en-US" sz="2400" dirty="0">
                <a:cs typeface="+mn-ea"/>
                <a:sym typeface="+mn-lt"/>
              </a:rPr>
              <a:t>字节，</a:t>
            </a:r>
            <a:endParaRPr lang="en-US" altLang="zh-CN" sz="2400" dirty="0">
              <a:cs typeface="+mn-ea"/>
              <a:sym typeface="+mn-lt"/>
            </a:endParaRPr>
          </a:p>
          <a:p>
            <a:pPr indent="457200" algn="l">
              <a:lnSpc>
                <a:spcPct val="120000"/>
              </a:lnSpc>
            </a:pPr>
            <a:r>
              <a:rPr lang="zh-CN" altLang="en-US" sz="2400" dirty="0">
                <a:cs typeface="+mn-ea"/>
                <a:sym typeface="+mn-lt"/>
              </a:rPr>
              <a:t>磁盘块的大小是，</a:t>
            </a:r>
            <a:r>
              <a:rPr lang="en-US" altLang="zh-CN" sz="2400" dirty="0">
                <a:cs typeface="+mn-ea"/>
                <a:sym typeface="+mn-lt"/>
              </a:rPr>
              <a:t>512B</a:t>
            </a:r>
            <a:r>
              <a:rPr lang="zh-CN" altLang="en-US" sz="2400" dirty="0">
                <a:cs typeface="+mn-ea"/>
                <a:sym typeface="+mn-lt"/>
              </a:rPr>
              <a:t>  </a:t>
            </a:r>
            <a:r>
              <a:rPr lang="en-US" altLang="zh-CN" sz="2400" dirty="0">
                <a:cs typeface="+mn-ea"/>
                <a:sym typeface="+mn-lt"/>
              </a:rPr>
              <a:t>*2^n  </a:t>
            </a:r>
            <a:r>
              <a:rPr lang="zh-CN" altLang="en-US" sz="2400" dirty="0">
                <a:cs typeface="+mn-ea"/>
                <a:sym typeface="+mn-lt"/>
              </a:rPr>
              <a:t>，整个磁盘最大容量除以磁盘块的大小就是索引项的最小位数</a:t>
            </a:r>
            <a:endParaRPr lang="en-US" altLang="zh-CN" sz="2400" dirty="0">
              <a:cs typeface="+mn-ea"/>
              <a:sym typeface="+mn-lt"/>
            </a:endParaRPr>
          </a:p>
          <a:p>
            <a:pPr indent="457200" algn="l">
              <a:lnSpc>
                <a:spcPct val="120000"/>
              </a:lnSpc>
            </a:pPr>
            <a:r>
              <a:rPr lang="zh-CN" altLang="en-US" sz="2400" dirty="0">
                <a:cs typeface="+mn-ea"/>
                <a:sym typeface="+mn-lt"/>
              </a:rPr>
              <a:t>当</a:t>
            </a:r>
            <a:r>
              <a:rPr lang="en-US" altLang="zh-CN" sz="2400" dirty="0">
                <a:cs typeface="+mn-ea"/>
                <a:sym typeface="+mn-lt"/>
              </a:rPr>
              <a:t>n=1</a:t>
            </a:r>
            <a:r>
              <a:rPr lang="zh-CN" altLang="en-US" sz="2400" dirty="0">
                <a:cs typeface="+mn-ea"/>
                <a:sym typeface="+mn-lt"/>
              </a:rPr>
              <a:t>时，索引项大小为</a:t>
            </a:r>
            <a:r>
              <a:rPr lang="en-US" altLang="zh-CN" sz="2400" dirty="0">
                <a:cs typeface="+mn-ea"/>
                <a:sym typeface="+mn-lt"/>
              </a:rPr>
              <a:t>4B</a:t>
            </a:r>
          </a:p>
          <a:p>
            <a:pPr indent="457200" algn="l">
              <a:lnSpc>
                <a:spcPct val="120000"/>
              </a:lnSpc>
            </a:pPr>
            <a:r>
              <a:rPr lang="zh-CN" altLang="en-US" sz="2400" dirty="0">
                <a:cs typeface="+mn-ea"/>
                <a:sym typeface="+mn-lt"/>
              </a:rPr>
              <a:t>当</a:t>
            </a:r>
            <a:r>
              <a:rPr lang="en-US" altLang="zh-CN" sz="2400" dirty="0">
                <a:cs typeface="+mn-ea"/>
                <a:sym typeface="+mn-lt"/>
              </a:rPr>
              <a:t>1&lt;n&lt;10</a:t>
            </a:r>
            <a:r>
              <a:rPr lang="zh-CN" altLang="en-US" sz="2400" dirty="0">
                <a:cs typeface="+mn-ea"/>
                <a:sym typeface="+mn-lt"/>
              </a:rPr>
              <a:t>时，索引项大小为 </a:t>
            </a:r>
            <a:r>
              <a:rPr lang="en-US" altLang="zh-CN" sz="2400" dirty="0">
                <a:cs typeface="+mn-ea"/>
                <a:sym typeface="+mn-lt"/>
              </a:rPr>
              <a:t>3B</a:t>
            </a:r>
          </a:p>
          <a:p>
            <a:pPr indent="457200" algn="l">
              <a:lnSpc>
                <a:spcPct val="120000"/>
              </a:lnSpc>
            </a:pPr>
            <a:endParaRPr lang="en-US" altLang="zh-CN" sz="2000" dirty="0">
              <a:cs typeface="+mn-ea"/>
              <a:sym typeface="+mn-lt"/>
            </a:endParaRPr>
          </a:p>
          <a:p>
            <a:pPr indent="457200" algn="l">
              <a:lnSpc>
                <a:spcPct val="120000"/>
              </a:lnSpc>
            </a:pPr>
            <a:endParaRPr lang="en-US" altLang="zh-CN" sz="2000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19819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2A1741A7-099B-4C48-85F5-19DF019FE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主题三：第五题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B70A6AA-03C1-42D4-89DC-A622319DF232}"/>
              </a:ext>
            </a:extLst>
          </p:cNvPr>
          <p:cNvSpPr txBox="1"/>
          <p:nvPr/>
        </p:nvSpPr>
        <p:spPr>
          <a:xfrm>
            <a:off x="-62144" y="937249"/>
            <a:ext cx="11189282" cy="4049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indent="457200" algn="l">
              <a:lnSpc>
                <a:spcPct val="120000"/>
              </a:lnSpc>
            </a:pPr>
            <a:r>
              <a:rPr lang="zh-CN" altLang="en-US" sz="2400" dirty="0"/>
              <a:t>（</a:t>
            </a:r>
            <a:r>
              <a:rPr lang="en-US" altLang="zh-CN" sz="2400" dirty="0"/>
              <a:t>8</a:t>
            </a:r>
            <a:r>
              <a:rPr lang="zh-CN" altLang="en-US" sz="2400" dirty="0"/>
              <a:t>）    设某个文件长度为</a:t>
            </a:r>
            <a:r>
              <a:rPr lang="en-US" altLang="zh-CN" sz="2400" dirty="0"/>
              <a:t>64208 KB</a:t>
            </a:r>
            <a:r>
              <a:rPr lang="zh-CN" altLang="en-US" sz="2400" dirty="0"/>
              <a:t>，需要多少个磁盘块存放这个文件的索引表？</a:t>
            </a:r>
            <a:endParaRPr lang="zh-CN" altLang="en-US" sz="2400" dirty="0">
              <a:cs typeface="+mn-ea"/>
              <a:sym typeface="+mn-lt"/>
            </a:endParaRPr>
          </a:p>
        </p:txBody>
      </p:sp>
      <p:sp>
        <p:nvSpPr>
          <p:cNvPr id="9" name="灯片编号占位符 2">
            <a:extLst>
              <a:ext uri="{FF2B5EF4-FFF2-40B4-BE49-F238E27FC236}">
                <a16:creationId xmlns:a16="http://schemas.microsoft.com/office/drawing/2014/main" id="{58F3D906-B21F-4B27-A8BC-84B8B7DD9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</p:spPr>
        <p:txBody>
          <a:bodyPr/>
          <a:lstStyle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  <a:cs typeface="+mn-ea"/>
                <a:sym typeface="+mn-lt"/>
              </a:rPr>
              <a:pPr defTabSz="914400">
                <a:defRPr/>
              </a:pPr>
              <a:t>6</a:t>
            </a:fld>
            <a:endParaRPr lang="en-US" dirty="0">
              <a:solidFill>
                <a:srgbClr val="000000">
                  <a:tint val="7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D09EC90-D9A6-2CAC-F2F2-66DA6D219491}"/>
              </a:ext>
            </a:extLst>
          </p:cNvPr>
          <p:cNvSpPr txBox="1"/>
          <p:nvPr/>
        </p:nvSpPr>
        <p:spPr>
          <a:xfrm>
            <a:off x="501359" y="1342232"/>
            <a:ext cx="11189282" cy="350480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indent="457200">
              <a:lnSpc>
                <a:spcPct val="120000"/>
              </a:lnSpc>
            </a:pPr>
            <a:r>
              <a:rPr lang="zh-CN" altLang="en-US" sz="2400" dirty="0">
                <a:cs typeface="+mn-ea"/>
                <a:sym typeface="+mn-lt"/>
              </a:rPr>
              <a:t>首先我们需要确定出索引项的大小    索引项的大小是</a:t>
            </a:r>
            <a:r>
              <a:rPr lang="en-US" altLang="zh-CN" sz="2400" dirty="0">
                <a:cs typeface="+mn-ea"/>
                <a:sym typeface="+mn-lt"/>
              </a:rPr>
              <a:t>4B</a:t>
            </a:r>
          </a:p>
          <a:p>
            <a:pPr indent="457200">
              <a:lnSpc>
                <a:spcPct val="120000"/>
              </a:lnSpc>
            </a:pPr>
            <a:r>
              <a:rPr lang="zh-CN" altLang="en-US" sz="2400" dirty="0">
                <a:cs typeface="+mn-ea"/>
                <a:sym typeface="+mn-lt"/>
              </a:rPr>
              <a:t>磁盘块的大小是，</a:t>
            </a:r>
            <a:r>
              <a:rPr lang="en-US" altLang="zh-CN" sz="2400" dirty="0">
                <a:cs typeface="+mn-ea"/>
                <a:sym typeface="+mn-lt"/>
              </a:rPr>
              <a:t>512B</a:t>
            </a:r>
            <a:r>
              <a:rPr lang="zh-CN" altLang="en-US" sz="2400" dirty="0">
                <a:cs typeface="+mn-ea"/>
                <a:sym typeface="+mn-lt"/>
              </a:rPr>
              <a:t>  </a:t>
            </a:r>
            <a:r>
              <a:rPr lang="en-US" altLang="zh-CN" sz="2400" dirty="0">
                <a:cs typeface="+mn-ea"/>
                <a:sym typeface="+mn-lt"/>
              </a:rPr>
              <a:t>*2^n  </a:t>
            </a:r>
            <a:r>
              <a:rPr lang="zh-CN" altLang="en-US" sz="2400" dirty="0">
                <a:cs typeface="+mn-ea"/>
                <a:sym typeface="+mn-lt"/>
              </a:rPr>
              <a:t>，此处我们的</a:t>
            </a:r>
            <a:r>
              <a:rPr lang="en-US" altLang="zh-CN" sz="2400" dirty="0">
                <a:cs typeface="+mn-ea"/>
                <a:sym typeface="+mn-lt"/>
              </a:rPr>
              <a:t>n</a:t>
            </a:r>
            <a:r>
              <a:rPr lang="zh-CN" altLang="en-US" sz="2400" dirty="0">
                <a:cs typeface="+mn-ea"/>
                <a:sym typeface="+mn-lt"/>
              </a:rPr>
              <a:t>取为</a:t>
            </a:r>
            <a:r>
              <a:rPr lang="en-US" altLang="zh-CN" sz="2400" dirty="0">
                <a:cs typeface="+mn-ea"/>
                <a:sym typeface="+mn-lt"/>
              </a:rPr>
              <a:t>1</a:t>
            </a:r>
            <a:r>
              <a:rPr lang="zh-CN" altLang="en-US" sz="2400" dirty="0">
                <a:cs typeface="+mn-ea"/>
                <a:sym typeface="+mn-lt"/>
              </a:rPr>
              <a:t>，磁盘块的大小是</a:t>
            </a:r>
            <a:r>
              <a:rPr lang="en-US" altLang="zh-CN" sz="2400" dirty="0">
                <a:cs typeface="+mn-ea"/>
                <a:sym typeface="+mn-lt"/>
              </a:rPr>
              <a:t>1KB</a:t>
            </a:r>
          </a:p>
          <a:p>
            <a:pPr indent="457200" algn="l">
              <a:lnSpc>
                <a:spcPct val="120000"/>
              </a:lnSpc>
            </a:pPr>
            <a:r>
              <a:rPr lang="zh-CN" altLang="en-US" sz="2400" dirty="0">
                <a:cs typeface="+mn-ea"/>
                <a:sym typeface="+mn-lt"/>
              </a:rPr>
              <a:t>我们需要</a:t>
            </a:r>
            <a:r>
              <a:rPr lang="en-US" altLang="zh-CN" sz="2400" dirty="0">
                <a:cs typeface="+mn-ea"/>
                <a:sym typeface="+mn-lt"/>
              </a:rPr>
              <a:t>64208</a:t>
            </a:r>
            <a:r>
              <a:rPr lang="zh-CN" altLang="en-US" sz="2400" dirty="0">
                <a:cs typeface="+mn-ea"/>
                <a:sym typeface="+mn-lt"/>
              </a:rPr>
              <a:t>个索引项，</a:t>
            </a:r>
            <a:r>
              <a:rPr lang="en-US" altLang="zh-CN" sz="2400" dirty="0">
                <a:cs typeface="+mn-ea"/>
                <a:sym typeface="+mn-lt"/>
              </a:rPr>
              <a:t>64208*4/1024=250.8KB</a:t>
            </a:r>
            <a:r>
              <a:rPr lang="zh-CN" altLang="en-US" sz="2400" dirty="0">
                <a:cs typeface="+mn-ea"/>
                <a:sym typeface="+mn-lt"/>
              </a:rPr>
              <a:t>，至少需要</a:t>
            </a:r>
            <a:r>
              <a:rPr lang="en-US" altLang="zh-CN" sz="2400" dirty="0">
                <a:cs typeface="+mn-ea"/>
                <a:sym typeface="+mn-lt"/>
              </a:rPr>
              <a:t>251</a:t>
            </a:r>
            <a:r>
              <a:rPr lang="zh-CN" altLang="en-US" sz="2400" dirty="0">
                <a:cs typeface="+mn-ea"/>
                <a:sym typeface="+mn-lt"/>
              </a:rPr>
              <a:t>个磁盘块</a:t>
            </a:r>
            <a:endParaRPr lang="en-US" altLang="zh-CN" sz="2400" dirty="0">
              <a:cs typeface="+mn-ea"/>
              <a:sym typeface="+mn-lt"/>
            </a:endParaRPr>
          </a:p>
          <a:p>
            <a:pPr indent="457200" algn="l">
              <a:lnSpc>
                <a:spcPct val="120000"/>
              </a:lnSpc>
            </a:pPr>
            <a:endParaRPr lang="en-US" altLang="zh-CN" sz="2400" dirty="0">
              <a:cs typeface="+mn-ea"/>
              <a:sym typeface="+mn-lt"/>
            </a:endParaRPr>
          </a:p>
          <a:p>
            <a:pPr indent="457200" algn="l">
              <a:lnSpc>
                <a:spcPct val="120000"/>
              </a:lnSpc>
            </a:pPr>
            <a:r>
              <a:rPr lang="zh-CN" altLang="en-US" sz="2400" dirty="0">
                <a:cs typeface="+mn-ea"/>
                <a:sym typeface="+mn-lt"/>
              </a:rPr>
              <a:t>而当索引项大小为</a:t>
            </a:r>
            <a:r>
              <a:rPr lang="en-US" altLang="zh-CN" sz="2400" dirty="0">
                <a:cs typeface="+mn-ea"/>
                <a:sym typeface="+mn-lt"/>
              </a:rPr>
              <a:t>3B</a:t>
            </a:r>
            <a:r>
              <a:rPr lang="zh-CN" altLang="en-US" sz="2400" dirty="0">
                <a:cs typeface="+mn-ea"/>
                <a:sym typeface="+mn-lt"/>
              </a:rPr>
              <a:t>的时候</a:t>
            </a:r>
            <a:endParaRPr lang="en-US" altLang="zh-CN" sz="2400" dirty="0">
              <a:cs typeface="+mn-ea"/>
              <a:sym typeface="+mn-lt"/>
            </a:endParaRPr>
          </a:p>
          <a:p>
            <a:pPr indent="457200">
              <a:lnSpc>
                <a:spcPct val="120000"/>
              </a:lnSpc>
            </a:pPr>
            <a:r>
              <a:rPr lang="zh-CN" altLang="en-US" sz="2400" dirty="0">
                <a:cs typeface="+mn-ea"/>
                <a:sym typeface="+mn-lt"/>
              </a:rPr>
              <a:t>我们需要</a:t>
            </a:r>
            <a:r>
              <a:rPr lang="en-US" altLang="zh-CN" sz="2400" dirty="0">
                <a:cs typeface="+mn-ea"/>
                <a:sym typeface="+mn-lt"/>
              </a:rPr>
              <a:t>32104</a:t>
            </a:r>
            <a:r>
              <a:rPr lang="zh-CN" altLang="en-US" sz="2400" dirty="0">
                <a:cs typeface="+mn-ea"/>
                <a:sym typeface="+mn-lt"/>
              </a:rPr>
              <a:t>个索引项，</a:t>
            </a:r>
            <a:r>
              <a:rPr lang="en-US" altLang="zh-CN" sz="2400" dirty="0">
                <a:cs typeface="+mn-ea"/>
                <a:sym typeface="+mn-lt"/>
              </a:rPr>
              <a:t>32104*3/1024=94.05KB</a:t>
            </a:r>
            <a:r>
              <a:rPr lang="zh-CN" altLang="en-US" sz="2400" dirty="0">
                <a:cs typeface="+mn-ea"/>
                <a:sym typeface="+mn-lt"/>
              </a:rPr>
              <a:t>，至少需要</a:t>
            </a:r>
            <a:r>
              <a:rPr lang="en-US" altLang="zh-CN" sz="2400" dirty="0">
                <a:cs typeface="+mn-ea"/>
                <a:sym typeface="+mn-lt"/>
              </a:rPr>
              <a:t>48</a:t>
            </a:r>
            <a:r>
              <a:rPr lang="zh-CN" altLang="en-US" sz="2400" dirty="0">
                <a:cs typeface="+mn-ea"/>
                <a:sym typeface="+mn-lt"/>
              </a:rPr>
              <a:t>个磁盘块</a:t>
            </a:r>
            <a:endParaRPr lang="en-US" altLang="zh-CN" sz="2400" dirty="0">
              <a:cs typeface="+mn-ea"/>
              <a:sym typeface="+mn-lt"/>
            </a:endParaRPr>
          </a:p>
          <a:p>
            <a:pPr indent="457200" algn="l">
              <a:lnSpc>
                <a:spcPct val="120000"/>
              </a:lnSpc>
            </a:pPr>
            <a:endParaRPr lang="en-US" altLang="zh-CN" sz="2400" dirty="0">
              <a:cs typeface="+mn-ea"/>
              <a:sym typeface="+mn-lt"/>
            </a:endParaRPr>
          </a:p>
          <a:p>
            <a:pPr indent="457200" algn="l">
              <a:lnSpc>
                <a:spcPct val="120000"/>
              </a:lnSpc>
            </a:pPr>
            <a:endParaRPr lang="en-US" altLang="zh-CN" sz="2400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78590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2A1741A7-099B-4C48-85F5-19DF019FE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主题三：第五题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B70A6AA-03C1-42D4-89DC-A622319DF232}"/>
              </a:ext>
            </a:extLst>
          </p:cNvPr>
          <p:cNvSpPr txBox="1"/>
          <p:nvPr/>
        </p:nvSpPr>
        <p:spPr>
          <a:xfrm>
            <a:off x="518809" y="983345"/>
            <a:ext cx="11189282" cy="33752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indent="457200" algn="l">
              <a:lnSpc>
                <a:spcPct val="120000"/>
              </a:lnSpc>
            </a:pPr>
            <a:r>
              <a:rPr lang="zh-CN" altLang="en-US" sz="2000" dirty="0"/>
              <a:t>（</a:t>
            </a:r>
            <a:r>
              <a:rPr lang="en-US" altLang="zh-CN" sz="2000" dirty="0"/>
              <a:t>8</a:t>
            </a:r>
            <a:r>
              <a:rPr lang="zh-CN" altLang="en-US" sz="2000" dirty="0"/>
              <a:t>）    设某个文件长度为</a:t>
            </a:r>
            <a:r>
              <a:rPr lang="en-US" altLang="zh-CN" sz="2000" dirty="0"/>
              <a:t>64208 KB</a:t>
            </a:r>
            <a:r>
              <a:rPr lang="zh-CN" altLang="en-US" sz="2000" dirty="0"/>
              <a:t>，需要多少个磁盘块存放这个文件的索引表？</a:t>
            </a:r>
            <a:endParaRPr lang="zh-CN" altLang="en-US" sz="2000" dirty="0">
              <a:cs typeface="+mn-ea"/>
              <a:sym typeface="+mn-lt"/>
            </a:endParaRPr>
          </a:p>
        </p:txBody>
      </p:sp>
      <p:sp>
        <p:nvSpPr>
          <p:cNvPr id="9" name="灯片编号占位符 2">
            <a:extLst>
              <a:ext uri="{FF2B5EF4-FFF2-40B4-BE49-F238E27FC236}">
                <a16:creationId xmlns:a16="http://schemas.microsoft.com/office/drawing/2014/main" id="{58F3D906-B21F-4B27-A8BC-84B8B7DD9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</p:spPr>
        <p:txBody>
          <a:bodyPr/>
          <a:lstStyle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  <a:cs typeface="+mn-ea"/>
                <a:sym typeface="+mn-lt"/>
              </a:rPr>
              <a:pPr defTabSz="914400">
                <a:defRPr/>
              </a:pPr>
              <a:t>7</a:t>
            </a:fld>
            <a:endParaRPr lang="en-US" dirty="0">
              <a:solidFill>
                <a:srgbClr val="000000">
                  <a:tint val="75000"/>
                </a:srgbClr>
              </a:solidFill>
              <a:cs typeface="+mn-ea"/>
              <a:sym typeface="+mn-lt"/>
            </a:endParaRPr>
          </a:p>
        </p:txBody>
      </p:sp>
      <p:graphicFrame>
        <p:nvGraphicFramePr>
          <p:cNvPr id="3" name="表格 5">
            <a:extLst>
              <a:ext uri="{FF2B5EF4-FFF2-40B4-BE49-F238E27FC236}">
                <a16:creationId xmlns:a16="http://schemas.microsoft.com/office/drawing/2014/main" id="{5F6525E3-1F88-BD50-81D7-6AD105E0D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1836286"/>
              </p:ext>
            </p:extLst>
          </p:nvPr>
        </p:nvGraphicFramePr>
        <p:xfrm>
          <a:off x="1550191" y="1734671"/>
          <a:ext cx="9066262" cy="3736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3677">
                  <a:extLst>
                    <a:ext uri="{9D8B030D-6E8A-4147-A177-3AD203B41FA5}">
                      <a16:colId xmlns:a16="http://schemas.microsoft.com/office/drawing/2014/main" val="278368871"/>
                    </a:ext>
                  </a:extLst>
                </a:gridCol>
                <a:gridCol w="1557585">
                  <a:extLst>
                    <a:ext uri="{9D8B030D-6E8A-4147-A177-3AD203B41FA5}">
                      <a16:colId xmlns:a16="http://schemas.microsoft.com/office/drawing/2014/main" val="4005962119"/>
                    </a:ext>
                  </a:extLst>
                </a:gridCol>
                <a:gridCol w="2428536">
                  <a:extLst>
                    <a:ext uri="{9D8B030D-6E8A-4147-A177-3AD203B41FA5}">
                      <a16:colId xmlns:a16="http://schemas.microsoft.com/office/drawing/2014/main" val="2700047498"/>
                    </a:ext>
                  </a:extLst>
                </a:gridCol>
                <a:gridCol w="3286464">
                  <a:extLst>
                    <a:ext uri="{9D8B030D-6E8A-4147-A177-3AD203B41FA5}">
                      <a16:colId xmlns:a16="http://schemas.microsoft.com/office/drawing/2014/main" val="3562662216"/>
                    </a:ext>
                  </a:extLst>
                </a:gridCol>
              </a:tblGrid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磁盘块大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索引项大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存放文件磁盘块个数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存放索引表磁盘块个数</a:t>
                      </a:r>
                      <a:endParaRPr lang="en-US" altLang="zh-C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2737910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12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2841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004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122103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6420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5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7036137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210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8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4217103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605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2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0819300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8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802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3318384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6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01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5629160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2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00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8125466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64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00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7035290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28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3738301"/>
                  </a:ext>
                </a:extLst>
              </a:tr>
            </a:tbl>
          </a:graphicData>
        </a:graphic>
      </p:graphicFrame>
      <p:sp>
        <p:nvSpPr>
          <p:cNvPr id="4" name="文本框 3">
            <a:extLst>
              <a:ext uri="{FF2B5EF4-FFF2-40B4-BE49-F238E27FC236}">
                <a16:creationId xmlns:a16="http://schemas.microsoft.com/office/drawing/2014/main" id="{3E76C48C-D5BE-740D-0D12-8F8853581095}"/>
              </a:ext>
            </a:extLst>
          </p:cNvPr>
          <p:cNvSpPr txBox="1"/>
          <p:nvPr/>
        </p:nvSpPr>
        <p:spPr>
          <a:xfrm>
            <a:off x="1550190" y="5458204"/>
            <a:ext cx="4743605" cy="303801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dirty="0"/>
              <a:t>注：都是单级索引，数据均已向上取整</a:t>
            </a:r>
          </a:p>
        </p:txBody>
      </p:sp>
    </p:spTree>
    <p:extLst>
      <p:ext uri="{BB962C8B-B14F-4D97-AF65-F5344CB8AC3E}">
        <p14:creationId xmlns:p14="http://schemas.microsoft.com/office/powerpoint/2010/main" val="10429234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BE592D0B-8526-6F21-427F-576E4B128E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8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标题 4">
            <a:extLst>
              <a:ext uri="{FF2B5EF4-FFF2-40B4-BE49-F238E27FC236}">
                <a16:creationId xmlns:a16="http://schemas.microsoft.com/office/drawing/2014/main" id="{6E8A4ED5-24CF-F058-6EAF-B2127D863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113" y="365125"/>
            <a:ext cx="9561512" cy="5778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主题三：第五题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5" name="表格 5">
            <a:extLst>
              <a:ext uri="{FF2B5EF4-FFF2-40B4-BE49-F238E27FC236}">
                <a16:creationId xmlns:a16="http://schemas.microsoft.com/office/drawing/2014/main" id="{8E4E5103-605B-F515-77C7-303408177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443197"/>
              </p:ext>
            </p:extLst>
          </p:nvPr>
        </p:nvGraphicFramePr>
        <p:xfrm>
          <a:off x="1550191" y="1734671"/>
          <a:ext cx="9066262" cy="3736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3677">
                  <a:extLst>
                    <a:ext uri="{9D8B030D-6E8A-4147-A177-3AD203B41FA5}">
                      <a16:colId xmlns:a16="http://schemas.microsoft.com/office/drawing/2014/main" val="278368871"/>
                    </a:ext>
                  </a:extLst>
                </a:gridCol>
                <a:gridCol w="1557585">
                  <a:extLst>
                    <a:ext uri="{9D8B030D-6E8A-4147-A177-3AD203B41FA5}">
                      <a16:colId xmlns:a16="http://schemas.microsoft.com/office/drawing/2014/main" val="4005962119"/>
                    </a:ext>
                  </a:extLst>
                </a:gridCol>
                <a:gridCol w="2428536">
                  <a:extLst>
                    <a:ext uri="{9D8B030D-6E8A-4147-A177-3AD203B41FA5}">
                      <a16:colId xmlns:a16="http://schemas.microsoft.com/office/drawing/2014/main" val="2700047498"/>
                    </a:ext>
                  </a:extLst>
                </a:gridCol>
                <a:gridCol w="3286464">
                  <a:extLst>
                    <a:ext uri="{9D8B030D-6E8A-4147-A177-3AD203B41FA5}">
                      <a16:colId xmlns:a16="http://schemas.microsoft.com/office/drawing/2014/main" val="3562662216"/>
                    </a:ext>
                  </a:extLst>
                </a:gridCol>
              </a:tblGrid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磁盘块大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索引项大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存放文件磁盘块个数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存放索引表磁盘块个数</a:t>
                      </a:r>
                      <a:endParaRPr lang="en-US" altLang="zh-C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2737910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12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2841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018(</a:t>
                      </a:r>
                      <a:r>
                        <a:rPr lang="zh-CN" altLang="en-US" dirty="0"/>
                        <a:t>三级索引</a:t>
                      </a:r>
                      <a:r>
                        <a:rPr lang="en-US" altLang="zh-CN" dirty="0"/>
                        <a:t>)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122103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6420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52</a:t>
                      </a:r>
                      <a:r>
                        <a:rPr lang="zh-CN" altLang="en-US" dirty="0"/>
                        <a:t>（二级索引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7036137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210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8</a:t>
                      </a:r>
                      <a:r>
                        <a:rPr lang="zh-CN" altLang="en-US" dirty="0"/>
                        <a:t>（二级索引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4217103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605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2</a:t>
                      </a:r>
                      <a:r>
                        <a:rPr lang="zh-CN" altLang="en-US" dirty="0"/>
                        <a:t>（二级索引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0819300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8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802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</a:t>
                      </a:r>
                      <a:r>
                        <a:rPr lang="zh-CN" altLang="en-US" dirty="0"/>
                        <a:t>（二级索引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3318384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6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01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r>
                        <a:rPr lang="zh-CN" altLang="en-US" dirty="0"/>
                        <a:t>（一级索引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5629160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2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00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r>
                        <a:rPr lang="zh-CN" altLang="en-US" dirty="0"/>
                        <a:t>（一级索引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8125466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64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00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r>
                        <a:rPr lang="zh-CN" altLang="en-US" dirty="0"/>
                        <a:t>（一级索引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7035290"/>
                  </a:ext>
                </a:extLst>
              </a:tr>
              <a:tr h="37367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28K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r>
                        <a:rPr lang="zh-CN" altLang="en-US" dirty="0"/>
                        <a:t>（一级索引）</a:t>
                      </a:r>
                      <a:endParaRPr lang="en-US" altLang="zh-C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3738301"/>
                  </a:ext>
                </a:extLst>
              </a:tr>
            </a:tbl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1CBC9B52-50FA-21C3-CCD9-DFAFC109EE2A}"/>
              </a:ext>
            </a:extLst>
          </p:cNvPr>
          <p:cNvSpPr txBox="1"/>
          <p:nvPr/>
        </p:nvSpPr>
        <p:spPr>
          <a:xfrm>
            <a:off x="1550190" y="5458204"/>
            <a:ext cx="4743605" cy="303801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dirty="0"/>
              <a:t>注：都是多级索引，数据均已向上取整</a:t>
            </a:r>
          </a:p>
        </p:txBody>
      </p:sp>
    </p:spTree>
    <p:extLst>
      <p:ext uri="{BB962C8B-B14F-4D97-AF65-F5344CB8AC3E}">
        <p14:creationId xmlns:p14="http://schemas.microsoft.com/office/powerpoint/2010/main" val="3067109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E68BB30-7DBD-42C6-8370-ACEAC642F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48886" y="2292367"/>
            <a:ext cx="3298933" cy="923330"/>
          </a:xfrm>
        </p:spPr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感谢聆听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5ED6E748-5A7F-4667-918E-A083AA7A1C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8887" y="3189478"/>
            <a:ext cx="3220274" cy="400110"/>
          </a:xfrm>
        </p:spPr>
        <p:txBody>
          <a:bodyPr/>
          <a:lstStyle/>
          <a:p>
            <a:pPr algn="dist"/>
            <a:r>
              <a:rPr lang="en-US" altLang="zh-CN" dirty="0">
                <a:cs typeface="+mn-ea"/>
                <a:sym typeface="+mn-lt"/>
              </a:rPr>
              <a:t>THANKS FOR LISTENING</a:t>
            </a:r>
          </a:p>
        </p:txBody>
      </p:sp>
      <p:sp>
        <p:nvSpPr>
          <p:cNvPr id="3" name="内容占位符 10">
            <a:extLst>
              <a:ext uri="{FF2B5EF4-FFF2-40B4-BE49-F238E27FC236}">
                <a16:creationId xmlns:a16="http://schemas.microsoft.com/office/drawing/2014/main" id="{A66527AC-69AC-7A13-F26F-A30993ED321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46037" y="4212910"/>
            <a:ext cx="3017234" cy="385504"/>
          </a:xfrm>
        </p:spPr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汇报人：曾海兵   吴博翔</a:t>
            </a:r>
            <a:endParaRPr lang="en-US" altLang="zh-CN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3311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5.2.3"/>
</p:tagLst>
</file>

<file path=ppt/theme/theme1.xml><?xml version="1.0" encoding="utf-8"?>
<a:theme xmlns:a="http://schemas.openxmlformats.org/drawingml/2006/main" name="Office 主题​​">
  <a:themeElements>
    <a:clrScheme name="上海大学VI配色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447C"/>
      </a:accent1>
      <a:accent2>
        <a:srgbClr val="D18E03"/>
      </a:accent2>
      <a:accent3>
        <a:srgbClr val="AE0D16"/>
      </a:accent3>
      <a:accent4>
        <a:srgbClr val="800964"/>
      </a:accent4>
      <a:accent5>
        <a:srgbClr val="47872C"/>
      </a:accent5>
      <a:accent6>
        <a:srgbClr val="575757"/>
      </a:accent6>
      <a:hlink>
        <a:srgbClr val="00447C"/>
      </a:hlink>
      <a:folHlink>
        <a:srgbClr val="BFBFBF"/>
      </a:folHlink>
    </a:clrScheme>
    <a:fontScheme name="2gpxnxnz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400">
          <a:buSzPct val="25000"/>
          <a:defRPr b="1" dirty="0" smtClean="0">
            <a:solidFill>
              <a:schemeClr val="bg1"/>
            </a:solidFill>
            <a:cs typeface="+mn-ea"/>
            <a:sym typeface="+mn-lt"/>
          </a:defRPr>
        </a:defPPr>
      </a:lstStyle>
    </a:spDef>
    <a:txDef>
      <a:spPr>
        <a:noFill/>
      </a:spPr>
      <a:bodyPr wrap="none" lIns="72000" tIns="0" rIns="72000" bIns="0" rtlCol="0" anchor="t">
        <a:spAutoFit/>
      </a:bodyPr>
      <a:lstStyle>
        <a:defPPr algn="l">
          <a:lnSpc>
            <a:spcPct val="120000"/>
          </a:lnSpc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296</TotalTime>
  <Words>722</Words>
  <Application>Microsoft Office PowerPoint</Application>
  <PresentationFormat>宽屏</PresentationFormat>
  <Paragraphs>143</Paragraphs>
  <Slides>9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4" baseType="lpstr">
      <vt:lpstr>等线</vt:lpstr>
      <vt:lpstr>Arial</vt:lpstr>
      <vt:lpstr>Impact</vt:lpstr>
      <vt:lpstr>Trebuchet MS</vt:lpstr>
      <vt:lpstr>Office 主题​​</vt:lpstr>
      <vt:lpstr>第一组研讨：主题三第五题</vt:lpstr>
      <vt:lpstr>主题三：第五题</vt:lpstr>
      <vt:lpstr>磁盘块与扇区</vt:lpstr>
      <vt:lpstr>若要存放一个文件长度为64208 KB的文件，此文件的文件体（文件本身的内容）需要多少个磁盘块？ </vt:lpstr>
      <vt:lpstr>主题三：第五题</vt:lpstr>
      <vt:lpstr>主题三：第五题</vt:lpstr>
      <vt:lpstr>主题三：第五题</vt:lpstr>
      <vt:lpstr>主题三：第五题</vt:lpstr>
      <vt:lpstr>感谢聆听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cp:lastModifiedBy>吴 博翔</cp:lastModifiedBy>
  <cp:revision>2610</cp:revision>
  <dcterms:created xsi:type="dcterms:W3CDTF">2019-03-21T14:55:07Z</dcterms:created>
  <dcterms:modified xsi:type="dcterms:W3CDTF">2023-02-23T02:5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v-yunxl@microsoft.com</vt:lpwstr>
  </property>
  <property fmtid="{D5CDD505-2E9C-101B-9397-08002B2CF9AE}" pid="5" name="MSIP_Label_f42aa342-8706-4288-bd11-ebb85995028c_SetDate">
    <vt:lpwstr>2019-03-22T06:47:56.0644319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f92b241c-97c8-498a-8cd3-16042464c891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